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6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7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8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9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0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1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16" r:id="rId5"/>
    <p:sldMasterId id="2147483878" r:id="rId6"/>
    <p:sldMasterId id="2147483720" r:id="rId7"/>
    <p:sldMasterId id="2147483732" r:id="rId8"/>
    <p:sldMasterId id="2147484036" r:id="rId9"/>
    <p:sldMasterId id="2147483742" r:id="rId10"/>
    <p:sldMasterId id="2147483824" r:id="rId11"/>
    <p:sldMasterId id="2147483984" r:id="rId12"/>
    <p:sldMasterId id="2147483859" r:id="rId13"/>
    <p:sldMasterId id="2147483929" r:id="rId14"/>
    <p:sldMasterId id="2147483783" r:id="rId15"/>
  </p:sldMasterIdLst>
  <p:notesMasterIdLst>
    <p:notesMasterId r:id="rId42"/>
  </p:notesMasterIdLst>
  <p:handoutMasterIdLst>
    <p:handoutMasterId r:id="rId43"/>
  </p:handoutMasterIdLst>
  <p:sldIdLst>
    <p:sldId id="462" r:id="rId16"/>
    <p:sldId id="629" r:id="rId17"/>
    <p:sldId id="11474" r:id="rId18"/>
    <p:sldId id="11476" r:id="rId19"/>
    <p:sldId id="11477" r:id="rId20"/>
    <p:sldId id="11479" r:id="rId21"/>
    <p:sldId id="11478" r:id="rId22"/>
    <p:sldId id="11480" r:id="rId23"/>
    <p:sldId id="727" r:id="rId24"/>
    <p:sldId id="749" r:id="rId25"/>
    <p:sldId id="867" r:id="rId26"/>
    <p:sldId id="921" r:id="rId27"/>
    <p:sldId id="922" r:id="rId28"/>
    <p:sldId id="806" r:id="rId29"/>
    <p:sldId id="866" r:id="rId30"/>
    <p:sldId id="777" r:id="rId31"/>
    <p:sldId id="756" r:id="rId32"/>
    <p:sldId id="834" r:id="rId33"/>
    <p:sldId id="910" r:id="rId34"/>
    <p:sldId id="812" r:id="rId35"/>
    <p:sldId id="813" r:id="rId36"/>
    <p:sldId id="879" r:id="rId37"/>
    <p:sldId id="836" r:id="rId38"/>
    <p:sldId id="923" r:id="rId39"/>
    <p:sldId id="924" r:id="rId40"/>
    <p:sldId id="907" r:id="rId4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nnect Student Registration" id="{5C75EF3B-86B8-6647-A64C-81E4B07450B2}">
          <p14:sldIdLst>
            <p14:sldId id="462"/>
            <p14:sldId id="629"/>
            <p14:sldId id="11474"/>
            <p14:sldId id="11476"/>
            <p14:sldId id="11477"/>
            <p14:sldId id="11479"/>
            <p14:sldId id="11478"/>
            <p14:sldId id="11480"/>
          </p14:sldIdLst>
        </p14:section>
        <p14:section name="TOC &amp; FDOC Checklist" id="{E6F0C533-3DEA-9B4B-992D-AF67FC764686}">
          <p14:sldIdLst>
            <p14:sldId id="727"/>
          </p14:sldIdLst>
        </p14:section>
        <p14:section name="CONNECT and Sharpen Companion FDOC" id="{A0C82838-10D7-43A1-9983-E9A634D22EF6}">
          <p14:sldIdLst>
            <p14:sldId id="749"/>
            <p14:sldId id="867"/>
            <p14:sldId id="921"/>
            <p14:sldId id="922"/>
            <p14:sldId id="806"/>
            <p14:sldId id="866"/>
            <p14:sldId id="777"/>
            <p14:sldId id="756"/>
          </p14:sldIdLst>
        </p14:section>
        <p14:section name="Sharpen Companion: Connect IA with LMS" id="{7D808E64-C6DA-4A55-8CE0-47A491B9FF7F}">
          <p14:sldIdLst>
            <p14:sldId id="834"/>
            <p14:sldId id="910"/>
            <p14:sldId id="812"/>
            <p14:sldId id="813"/>
            <p14:sldId id="879"/>
          </p14:sldIdLst>
        </p14:section>
        <p14:section name="Sharpen Companion: Connect Log-In with LMS" id="{AA956BDD-B3DA-40BB-9958-206883F48C3F}">
          <p14:sldIdLst>
            <p14:sldId id="836"/>
            <p14:sldId id="923"/>
            <p14:sldId id="924"/>
            <p14:sldId id="90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BD84612-01DC-28C1-4AA5-EDB50D6A630E}" name="Henig, Sarit" initials="HS" userId="S::sarit.henig@mheducation.com::ad83c6bf-9a7d-4a88-b545-e6e8836bd6ee" providerId="AD"/>
  <p188:author id="{C1D3EC44-2A49-0274-D086-8618EBEE3CBE}" name="Aller, Natalie" initials="" userId="S::Natalie.Aller@mheducation.com::92aaa3dc-9298-450d-b5b0-88d600ea217d" providerId="AD"/>
  <p188:author id="{1615368D-5146-B2EC-766E-281DF745382A}" name="Mcmanus, Cathy" initials="MC" userId="S::cathy.mcmanus@mheducation.com::f6f2004f-42b0-4d49-b784-7d0ab1b5edee" providerId="AD"/>
  <p188:author id="{A73DA2DF-F3D0-C5CA-884D-19E61C0D3FFA}" name="Smitherman, Erin" initials="SE" userId="S::erin.smitherman@mheducation.com::6a5b2dc9-4c06-4251-b6ef-d4dc50cd37d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4528C85-9A8F-2A87-5D92-B16B061F3AA5}" v="7" dt="2025-05-21T21:27:02.223"/>
    <p1510:client id="{6659D51F-F086-D15F-5523-B8307D2879A0}" v="48" dt="2025-05-21T21:23:24.358"/>
    <p1510:client id="{7D8EB2F9-0C26-8B6E-6C9C-78DC4EDAB340}" v="3" dt="2025-05-21T21:45:37.302"/>
    <p1510:client id="{B7EE7CB5-66F5-483F-BB1E-11F20D9D3FFD}" v="69" dt="2025-05-22T16:04:37.1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58"/>
  </p:normalViewPr>
  <p:slideViewPr>
    <p:cSldViewPr snapToGrid="0">
      <p:cViewPr varScale="1">
        <p:scale>
          <a:sx n="104" d="100"/>
          <a:sy n="104" d="100"/>
        </p:scale>
        <p:origin x="232" y="5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slide" Target="slides/slide24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9" Type="http://schemas.openxmlformats.org/officeDocument/2006/relationships/slide" Target="slides/slide14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slide" Target="slides/slide25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49" Type="http://schemas.microsoft.com/office/2018/10/relationships/authors" Target="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handoutMaster" Target="handoutMasters/handoutMaster1.xml"/><Relationship Id="rId48" Type="http://schemas.microsoft.com/office/2015/10/relationships/revisionInfo" Target="revisionInfo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openxmlformats.org/officeDocument/2006/relationships/theme" Target="theme/theme1.xml"/><Relationship Id="rId20" Type="http://schemas.openxmlformats.org/officeDocument/2006/relationships/slide" Target="slides/slide5.xml"/><Relationship Id="rId41" Type="http://schemas.openxmlformats.org/officeDocument/2006/relationships/slide" Target="slides/slide2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8B9842-8E57-FA7B-7478-DA412A87942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5C62FE-88B7-0EC8-CDBC-5AF99272B4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88991-3BD6-5945-A53D-477BACF5905D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025C13-6B8D-C011-C705-95ADF35F836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8C2207-B0CB-1138-0457-10588AA5498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42495-FACE-F749-8D87-3175C066BC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038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AD9B68-2129-E747-B5AF-0553D7866B9D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9B8B0-6DDC-8945-BE88-15F72254A7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0465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261ABF-A388-0B40-BA66-489EF1132D8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696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792D7C-7077-49A2-6043-185CD13F88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7336EB-F27A-0281-8053-D53E10C33B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309209-BCF7-5CBE-6370-0E29E3B7CF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15C2E4-3337-BE78-698B-5CDBD79669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0144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D415BE-95DE-4DD7-6011-37DC123B8F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5059056-98C0-0FFA-9122-4E2AA5C220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523A4F-F7C8-EA79-5531-09DE61541B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F6188-0AD5-6C87-0037-76AF4DE33A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3608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3055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1A7942-6653-E259-10C4-22F3E21D28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A7D8C9-6D39-787E-9937-A0FDECA1FF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690215-9D81-9BCA-5D85-4BD30E590E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6A98B6-B218-62EC-3085-94EFEFFE36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0696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BE3E33-2880-BE9E-0FAF-2CA6501DD1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AC6E53E-81CF-B4B7-E597-5EE4B3089B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141CABA-03D0-825C-60F0-3D02FC4B72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2D1210-6FC6-71C5-351C-5F8BBB8FC6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7511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7576B2-20F3-EF43-1428-3A32E4FB33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2AF38F2-3EB2-9B25-F062-D3963356A8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205638E-1D10-02A1-14C6-D86514816C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61FE80-16EE-63FC-5F9D-0B3EC2D715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8432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6786C9-34D5-A334-B076-7E6BF71197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77E304-AB04-B3DB-AF2A-4AB6552EA1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D631E5-E2BC-349D-6748-68597C016E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A90551-7B4B-097E-768D-D595D8394B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388592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8483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8FF1BC-FF4E-71C9-CFBF-7D651E3589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1D75D9-F516-D004-25EC-7D80CEF58E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65D3F53-B6C5-65CB-637A-98284999BD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9002CD-E621-8B38-7990-B11D0652EC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84794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D013AA-1138-5F50-B101-C4D9E429EC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766156-B026-DFBD-0A2A-9DFE4D469F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256B0CC-DB99-009A-C49A-E7B5F264AE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E7BD82-F14E-BDB4-0B66-FFF98EFCC6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948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261ABF-A388-0B40-BA66-489EF1132D8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860761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EE336E-5A56-CB71-CF59-91C81F94CB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7C7B8BF-AEBC-CE5C-99A8-63977D3D83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C62735-72E5-83C1-ABFF-ED6FE7EBB6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BE12AF-C398-2151-97BC-78873F53A2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51005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2AC0C-1B8B-F697-680A-C5781B2E9E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13FD99-5DA6-6BF6-254C-4B1A88BB09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31E63C-B9A7-A061-FC88-DD3933BBB0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23A2C2-7808-FED1-2B02-9DF422B8AF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4755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122A62-A79E-4119-B229-FBF7365A5F3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897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7749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1F4AA9-FBAD-4349-DAE2-74DE39C58E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5DE03E-AA78-2089-2D72-4E37044914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657EDD-AAA5-16A4-C365-DA1D52687B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28CA6C-AA40-EA62-990A-C5F58A4A4B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319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90F11-AC95-B7A2-2E34-BE03514B71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A7DAC3-63BE-4B12-FF9C-FFAAB114FA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D5C23F-3B07-BF25-2B92-48EFD4F26F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1EFF6A-F2B8-DB33-A599-39F0183DD0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7609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E3A782-D5A0-D999-8897-E32A878786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14309B-CD31-72F6-0959-6A4590D8DC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C5C408E-7AE3-AAFC-39D6-4BD7D480F9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33394B-3C62-9C18-E0C8-65AE2A9884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3370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6BA09C-FA6D-2E31-A31A-11B853024A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A09232-9813-F9D0-B520-2BBEFBD649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FF96E22-44E5-A3B8-BE31-298EA2989F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392C17-C704-010B-A7C5-14C6988137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4217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C7C658-A5C1-FE5E-594D-ABEBB9044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31A124-2349-67C9-279B-51F8F2C236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1620C5-575E-A89D-335F-663083F50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0084B0-B107-07FA-18ED-6272844AE3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372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EDF070E-4902-2446-B5CB-C543792B3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8F4E8AE-83DE-3E46-8112-47F77FF98D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498906"/>
            <a:ext cx="11897228" cy="5155113"/>
            <a:chOff x="0" y="498906"/>
            <a:chExt cx="11897228" cy="5155113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D5D82C0-6CAF-574D-B118-855822081320}"/>
                </a:ext>
              </a:extLst>
            </p:cNvPr>
            <p:cNvSpPr/>
            <p:nvPr userDrawn="1"/>
          </p:nvSpPr>
          <p:spPr>
            <a:xfrm rot="18900000">
              <a:off x="10849492" y="884438"/>
              <a:ext cx="9581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9EDF456-8163-F143-AF4A-903B97CE9BC9}"/>
                </a:ext>
              </a:extLst>
            </p:cNvPr>
            <p:cNvSpPr/>
            <p:nvPr userDrawn="1"/>
          </p:nvSpPr>
          <p:spPr>
            <a:xfrm rot="18900000">
              <a:off x="10890847" y="984019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82336C6D-E628-0041-857C-9322A2451661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53" name="Parallelogram 52">
                <a:extLst>
                  <a:ext uri="{FF2B5EF4-FFF2-40B4-BE49-F238E27FC236}">
                    <a16:creationId xmlns:a16="http://schemas.microsoft.com/office/drawing/2014/main" id="{DCC0BD75-E04F-104D-9C21-744FA4C6EF68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Parallelogram 53">
                <a:extLst>
                  <a:ext uri="{FF2B5EF4-FFF2-40B4-BE49-F238E27FC236}">
                    <a16:creationId xmlns:a16="http://schemas.microsoft.com/office/drawing/2014/main" id="{BFEE5699-8431-704F-A655-FD491E2D8B60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648EC5FD-D283-3B4D-A3B4-908D0BC14F43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51" name="Parallelogram 61">
                <a:extLst>
                  <a:ext uri="{FF2B5EF4-FFF2-40B4-BE49-F238E27FC236}">
                    <a16:creationId xmlns:a16="http://schemas.microsoft.com/office/drawing/2014/main" id="{AD9D228C-7638-1141-83AF-BA7FF2D55EAE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Parallelogram 61">
                <a:extLst>
                  <a:ext uri="{FF2B5EF4-FFF2-40B4-BE49-F238E27FC236}">
                    <a16:creationId xmlns:a16="http://schemas.microsoft.com/office/drawing/2014/main" id="{CEF32391-A87F-C646-AB2F-1C912C7ABA50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736CA0-AFFD-DB4F-8C22-2F4A88CE95D4}"/>
                </a:ext>
              </a:extLst>
            </p:cNvPr>
            <p:cNvSpPr/>
            <p:nvPr userDrawn="1"/>
          </p:nvSpPr>
          <p:spPr>
            <a:xfrm>
              <a:off x="9552721" y="1203981"/>
              <a:ext cx="14826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1F8AE9E-4B8A-9E48-8669-C9853A249D82}"/>
                </a:ext>
              </a:extLst>
            </p:cNvPr>
            <p:cNvSpPr/>
            <p:nvPr userDrawn="1"/>
          </p:nvSpPr>
          <p:spPr>
            <a:xfrm>
              <a:off x="9618398" y="1320692"/>
              <a:ext cx="1460280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43DF850-F8DA-9A4F-A9A4-0D9AAD65685F}"/>
                </a:ext>
              </a:extLst>
            </p:cNvPr>
            <p:cNvSpPr/>
            <p:nvPr userDrawn="1"/>
          </p:nvSpPr>
          <p:spPr>
            <a:xfrm rot="16200000">
              <a:off x="7335022" y="3370643"/>
              <a:ext cx="4450040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B35AD5C-8478-8E4E-98D3-32BC46C27148}"/>
                </a:ext>
              </a:extLst>
            </p:cNvPr>
            <p:cNvSpPr/>
            <p:nvPr userDrawn="1"/>
          </p:nvSpPr>
          <p:spPr>
            <a:xfrm rot="16200000">
              <a:off x="7510091" y="3428998"/>
              <a:ext cx="4333326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C5E48F8A-E28A-FB4B-B7D2-9FB364C19165}"/>
                </a:ext>
              </a:extLst>
            </p:cNvPr>
            <p:cNvSpPr/>
            <p:nvPr userDrawn="1"/>
          </p:nvSpPr>
          <p:spPr>
            <a:xfrm>
              <a:off x="0" y="5420595"/>
              <a:ext cx="957261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63ECE769-2F0D-354F-8005-B0E084BFBE6D}"/>
                </a:ext>
              </a:extLst>
            </p:cNvPr>
            <p:cNvSpPr/>
            <p:nvPr userDrawn="1"/>
          </p:nvSpPr>
          <p:spPr>
            <a:xfrm>
              <a:off x="0" y="5537306"/>
              <a:ext cx="966417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ABADAE6B-754B-4148-902D-7F291DD0F7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7EC5B62-5641-E247-A8B8-460001BE7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67A20382-9199-2847-97B8-8288D88F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4" name="Subtitle">
            <a:extLst>
              <a:ext uri="{FF2B5EF4-FFF2-40B4-BE49-F238E27FC236}">
                <a16:creationId xmlns:a16="http://schemas.microsoft.com/office/drawing/2014/main" id="{390AD8CB-CC7E-984F-9F6D-99A3A55A0A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pic>
        <p:nvPicPr>
          <p:cNvPr id="45" name="Picture 44" descr="McGraw Hill cube Logo">
            <a:extLst>
              <a:ext uri="{FF2B5EF4-FFF2-40B4-BE49-F238E27FC236}">
                <a16:creationId xmlns:a16="http://schemas.microsoft.com/office/drawing/2014/main" id="{69BF1FB9-C8BA-C141-BB8B-638E1DEEC6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65" name="Name &amp; Surname">
            <a:extLst>
              <a:ext uri="{FF2B5EF4-FFF2-40B4-BE49-F238E27FC236}">
                <a16:creationId xmlns:a16="http://schemas.microsoft.com/office/drawing/2014/main" id="{434E83B2-513B-D840-ACC2-97CDC476F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6" name="Numeral Date">
            <a:extLst>
              <a:ext uri="{FF2B5EF4-FFF2-40B4-BE49-F238E27FC236}">
                <a16:creationId xmlns:a16="http://schemas.microsoft.com/office/drawing/2014/main" id="{FC4E2726-14C8-B14D-9721-7807227392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10DFA6-01F6-0757-3388-4125680AE6B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35431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VIOLE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our young people collaborate around a table. They use a laptop, textbook, smartphone, and sticky notes. Each has a relaxed, but intent, expression.&#10;">
            <a:extLst>
              <a:ext uri="{FF2B5EF4-FFF2-40B4-BE49-F238E27FC236}">
                <a16:creationId xmlns:a16="http://schemas.microsoft.com/office/drawing/2014/main" id="{7FC1136F-CA1A-304F-BD87-6F5AD28DF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053" y="0"/>
            <a:ext cx="12232106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001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355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1193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022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188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311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2F88899-822A-2BAC-C0BB-931CD16C32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5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669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948AF60-D99C-18A5-0A22-0D341CF07A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44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" name="Body Text">
            <a:extLst>
              <a:ext uri="{FF2B5EF4-FFF2-40B4-BE49-F238E27FC236}">
                <a16:creationId xmlns:a16="http://schemas.microsoft.com/office/drawing/2014/main" id="{F788FE61-2449-64AF-DCE2-15E103FAA2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Body Text">
            <a:extLst>
              <a:ext uri="{FF2B5EF4-FFF2-40B4-BE49-F238E27FC236}">
                <a16:creationId xmlns:a16="http://schemas.microsoft.com/office/drawing/2014/main" id="{43578A47-72BE-6C4B-C324-1DA3363963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F8800D-1DE3-3FD3-069C-4F3BA01D2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366123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A210F576-544A-CEAC-3E61-8A8D67FDB6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1DA6AA1F-7BBE-D1AD-AD1F-C4AFC62C94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9C2F1D-5554-DDC9-02AE-906934B5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085043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8BA3C0C5-F112-F484-ECD8-531C8D339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DAE621AD-BA72-B1A5-3402-74C1B2E4DD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CD6DDB3-128C-CADE-AE3E-921A19D83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875740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424A5EE1-F1FD-B460-8956-BCE847515B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45B31E94-5DB4-9A14-F934-E25215461A5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B26C7E3B-6F5C-CDE9-061A-297F5473CA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DA3A8863-2B69-0D33-13BA-80ACAFA112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86B534F4-22A8-5E4C-F4FE-C95F8A9253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6E297E9E-72E3-45CD-2CE0-8FCA6B335AD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B65CF966-233B-A64C-3964-34087DD3CDA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D57079D-6FBC-F402-1F73-376DBC7B027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BFCC252E-79D1-9413-CBF9-D4A68D0C6D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74C85F6F-4418-EB83-5AD2-7D1A5B7EE6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0BA9D89-5898-926B-F580-BA00D0C4B1B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449D3811-7FC3-FCBB-3726-4DC59A5773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3" name="Body Text">
            <a:extLst>
              <a:ext uri="{FF2B5EF4-FFF2-40B4-BE49-F238E27FC236}">
                <a16:creationId xmlns:a16="http://schemas.microsoft.com/office/drawing/2014/main" id="{C28A47CA-3763-85C4-C933-D2F62FFB20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76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54440BB0-874B-1C48-9D14-D93811C53E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1" name="Name &amp; Surname">
            <a:extLst>
              <a:ext uri="{FF2B5EF4-FFF2-40B4-BE49-F238E27FC236}">
                <a16:creationId xmlns:a16="http://schemas.microsoft.com/office/drawing/2014/main" id="{D33C7042-0669-6148-9FAC-1EA8D47DBC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0002E01B-5919-1E48-8DB8-F4682B5973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cube Logo">
            <a:extLst>
              <a:ext uri="{FF2B5EF4-FFF2-40B4-BE49-F238E27FC236}">
                <a16:creationId xmlns:a16="http://schemas.microsoft.com/office/drawing/2014/main" id="{6239E6B2-39D4-6948-B6F9-CFE0B3566D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289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4B347B6-3A82-3AC2-864B-EB512C2D8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6611997-54C5-6B87-858A-DFE22A9ECB4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EC5C3E68-D584-21B6-4B21-2A05B5C601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7FD4EBC2-5816-21BE-479D-5F82B75024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54748D3-698C-84EA-2EF1-78272F13090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2667B3A-35FA-E008-FA32-0053746B30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4A054557-76B5-2371-D87B-C19391139E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1E5A92C-CDFC-572F-7F61-E98329CD4A2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7D21B69A-E35A-CBF5-C16D-8E3C2AA837A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63D08A8D-E78B-1AA6-03A4-114E0B9C5E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7255E978-E783-9201-2D84-F6D7F963EDD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BCDED6F5-1D6A-02AC-F0DA-921B227BE2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39F1054F-EFDC-6754-D8B8-C4715EAF71C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638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5831230-61E5-66E5-16D8-2064453203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0C9D29D-E415-8E19-7A25-8C59E4AA4B5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C5754ACC-708A-22BA-D48B-CC49B2007A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0205775-38D4-FE35-EEA0-8C81EE9399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FA15769-525D-2C04-B873-5FC6C886028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A11F21FA-6969-7AAE-37BA-8F52DADE0B5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B0ADFB59-55B1-71FD-A662-9E8571C01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F1BD6364-5BE9-4F02-B90E-2AD80283361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6E9784CB-5420-4B46-2EB6-4875D69C461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95F38C3F-77E9-47F1-309B-982253573D9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394D9DC-5A74-F59A-923F-9126E094CB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98C7A80D-3A82-7597-22B0-492161981A3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6BC137E1-6F3A-6BF7-1FD5-B4B93BD05B4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133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81A921E9-43B1-A64F-B9DA-CFC5BD8374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 descr="McGraw Hill Logo">
            <a:extLst>
              <a:ext uri="{FF2B5EF4-FFF2-40B4-BE49-F238E27FC236}">
                <a16:creationId xmlns:a16="http://schemas.microsoft.com/office/drawing/2014/main" id="{AC15184A-376C-3847-A9F0-FFA9008CF0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181" y="1452056"/>
            <a:ext cx="703182" cy="70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9665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05BB067E-F917-E8BD-9D12-40D966FC8B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55242E1-DCE5-2EB8-B85C-B0537FD5A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rgbClr val="E5E5E5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985509E-727A-DB39-85F7-3F93DAE3A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7" name="Name">
            <a:extLst>
              <a:ext uri="{FF2B5EF4-FFF2-40B4-BE49-F238E27FC236}">
                <a16:creationId xmlns:a16="http://schemas.microsoft.com/office/drawing/2014/main" id="{B3932FF3-249E-EB90-D795-2F6A1349C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8" name="Email">
            <a:extLst>
              <a:ext uri="{FF2B5EF4-FFF2-40B4-BE49-F238E27FC236}">
                <a16:creationId xmlns:a16="http://schemas.microsoft.com/office/drawing/2014/main" id="{BF70833C-2796-3AB6-9BDB-FA16B94E58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hone">
            <a:extLst>
              <a:ext uri="{FF2B5EF4-FFF2-40B4-BE49-F238E27FC236}">
                <a16:creationId xmlns:a16="http://schemas.microsoft.com/office/drawing/2014/main" id="{BFF0DF67-2A6C-A225-F335-0B98168B1D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Linkedin">
            <a:extLst>
              <a:ext uri="{FF2B5EF4-FFF2-40B4-BE49-F238E27FC236}">
                <a16:creationId xmlns:a16="http://schemas.microsoft.com/office/drawing/2014/main" id="{2D8D486A-9449-ED06-5819-BBBCDF3211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17" name="Website">
            <a:extLst>
              <a:ext uri="{FF2B5EF4-FFF2-40B4-BE49-F238E27FC236}">
                <a16:creationId xmlns:a16="http://schemas.microsoft.com/office/drawing/2014/main" id="{4927CA2F-2EA3-213C-D292-F5B4AE6676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EC1E8E5-D8DC-FDDF-BD53-917C9FAF80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65A5F66-5E25-B280-EB1F-6834BB89D6F8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BCAE2CE-F803-94F4-321E-48A104EF871E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34880DFC-4EC1-8246-F7DC-1D4B2510253E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670E976F-0B73-8642-8D66-3192EE5E2971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EB55618A-0F56-ABC2-6022-E7A09006C2A0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455FB624-603C-81DE-1680-A1AC7F28B789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CADDAF0-1E2C-CAAD-D609-57143A2BE340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E89F197-7220-6CA2-951C-442E614E7E7F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65604F5-5C2B-4F57-46AB-4FEA640C8A6B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33A3CB74-6A04-282E-E053-0112A8787B51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FF1ED3F-1A2C-7A34-0E50-882423C3575C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EC21F6E-1B49-15C9-3067-6506810CF18E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3FE3FBF-B9B5-3345-FB8A-5D679920FAA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25" name="Parallelogram 24">
                  <a:extLst>
                    <a:ext uri="{FF2B5EF4-FFF2-40B4-BE49-F238E27FC236}">
                      <a16:creationId xmlns:a16="http://schemas.microsoft.com/office/drawing/2014/main" id="{9E71666D-27CF-390C-D2B0-93CFD70E6A98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" name="Parallelogram 25">
                  <a:extLst>
                    <a:ext uri="{FF2B5EF4-FFF2-40B4-BE49-F238E27FC236}">
                      <a16:creationId xmlns:a16="http://schemas.microsoft.com/office/drawing/2014/main" id="{E4FB9DA5-DA53-7DCF-98B0-A41937BCF88A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C47A0052-7CE6-B332-92D9-706143747E84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23" name="Parallelogram 61">
                  <a:extLst>
                    <a:ext uri="{FF2B5EF4-FFF2-40B4-BE49-F238E27FC236}">
                      <a16:creationId xmlns:a16="http://schemas.microsoft.com/office/drawing/2014/main" id="{0154C05D-843E-009C-BA23-5FF468F8D6EB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" name="Parallelogram 61">
                  <a:extLst>
                    <a:ext uri="{FF2B5EF4-FFF2-40B4-BE49-F238E27FC236}">
                      <a16:creationId xmlns:a16="http://schemas.microsoft.com/office/drawing/2014/main" id="{0174978C-06F2-A759-62F0-4F7C4F794660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7254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DE3686-DB2A-E63C-9903-A8244C6A11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McGraw Hill red cube Logo">
            <a:extLst>
              <a:ext uri="{FF2B5EF4-FFF2-40B4-BE49-F238E27FC236}">
                <a16:creationId xmlns:a16="http://schemas.microsoft.com/office/drawing/2014/main" id="{F0D525F2-F9A7-7A73-4B30-ACE22BC64B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55580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CA2A2D41-DD4C-5142-BB67-1F26B8A758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8647846-01CE-514B-90CE-D4C484DE0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McGraw Hill red cube Logo">
            <a:extLst>
              <a:ext uri="{FF2B5EF4-FFF2-40B4-BE49-F238E27FC236}">
                <a16:creationId xmlns:a16="http://schemas.microsoft.com/office/drawing/2014/main" id="{B4836203-0CB8-F644-8793-692AE7EC3A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88556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622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userDrawn="1">
          <p15:clr>
            <a:srgbClr val="FBAE40"/>
          </p15:clr>
        </p15:guide>
        <p15:guide id="7" pos="483" userDrawn="1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66A961-BB2B-B54F-BFAB-BDA9367AE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32427A80-5FB3-1A49-8DC5-A073AD2F5B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19BD590-2BD8-1345-96AC-71997DB3D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4" name="Body Text">
            <a:extLst>
              <a:ext uri="{FF2B5EF4-FFF2-40B4-BE49-F238E27FC236}">
                <a16:creationId xmlns:a16="http://schemas.microsoft.com/office/drawing/2014/main" id="{304C3CA5-856F-2F4D-9D50-08DD3F11F8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1" name="Column 1">
            <a:extLst>
              <a:ext uri="{FF2B5EF4-FFF2-40B4-BE49-F238E27FC236}">
                <a16:creationId xmlns:a16="http://schemas.microsoft.com/office/drawing/2014/main" id="{09D023D1-AA6B-9646-A78E-0089EAAEBF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Column 2">
            <a:extLst>
              <a:ext uri="{FF2B5EF4-FFF2-40B4-BE49-F238E27FC236}">
                <a16:creationId xmlns:a16="http://schemas.microsoft.com/office/drawing/2014/main" id="{A028DF26-A643-9E46-88A5-7D66AB1A21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0BC10B7E-FB9A-3449-BA9D-B470A0390D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35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24" userDrawn="1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077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833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251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896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901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0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L. H.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856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07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 userDrawn="1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495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Pi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648C4D-D816-204A-B723-761FDB294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53281EAB-F476-BB40-9FAD-E65D90D2C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390110-5AD8-874C-AE1F-E0FB2ECFB94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C5A7534-3DAA-9741-9B2A-18B0C4851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12A4A311-C970-5B47-B8B4-279475D834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2064520"/>
            <a:ext cx="4222331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4A1DD1E-0FD4-334D-AC0E-B10F7CCB6E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595" y="2898212"/>
            <a:ext cx="4603750" cy="345146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</a:t>
            </a:r>
          </a:p>
          <a:p>
            <a:pPr lvl="0"/>
            <a:r>
              <a:rPr lang="en-US" err="1"/>
              <a:t>Elitsed</a:t>
            </a:r>
            <a:r>
              <a:rPr lang="en-US"/>
              <a:t> diam </a:t>
            </a:r>
            <a:r>
              <a:rPr lang="en-US" err="1"/>
              <a:t>nonumm</a:t>
            </a:r>
            <a:r>
              <a:rPr lang="en-US"/>
              <a:t> </a:t>
            </a:r>
            <a:r>
              <a:rPr lang="en-US" err="1"/>
              <a:t>y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</a:t>
            </a:r>
            <a:r>
              <a:rPr lang="en-US"/>
              <a:t> </a:t>
            </a:r>
            <a:r>
              <a:rPr lang="en-US" err="1"/>
              <a:t>ter</a:t>
            </a:r>
            <a:r>
              <a:rPr lang="en-US"/>
              <a:t> pat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301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152" userDrawn="1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Lin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979F1B-0C1D-4D46-9688-E70042C91F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B60AC181-A0E8-C848-B86F-709FE5140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C5E5542-63AF-264A-9B02-20F2AE5C86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3" y="1042826"/>
            <a:ext cx="4290529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80449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873E0C-0627-D042-9703-1082CC31C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442212F1-2279-1344-BAF9-2D55C3372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EAAC9DE-6713-2148-84D1-A07827E47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8AE632E4-8081-4C4C-93AA-8BA65412F7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2522" y="3249621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9" name="Column 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7994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736B6D3D-9619-D84B-95A2-F3E1C1AC6D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7417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1" name="Column 2">
            <a:extLst>
              <a:ext uri="{FF2B5EF4-FFF2-40B4-BE49-F238E27FC236}">
                <a16:creationId xmlns:a16="http://schemas.microsoft.com/office/drawing/2014/main" id="{33CFB3D8-4385-F845-A13A-64C1CF8639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32889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4" name="Subtitle 3">
            <a:extLst>
              <a:ext uri="{FF2B5EF4-FFF2-40B4-BE49-F238E27FC236}">
                <a16:creationId xmlns:a16="http://schemas.microsoft.com/office/drawing/2014/main" id="{BE099D4A-DC27-5241-986A-5206F12817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87928" y="3237763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5" name="Column 3">
            <a:extLst>
              <a:ext uri="{FF2B5EF4-FFF2-40B4-BE49-F238E27FC236}">
                <a16:creationId xmlns:a16="http://schemas.microsoft.com/office/drawing/2014/main" id="{3FB1514F-7252-9A47-9F31-9DF3A0FDA3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23400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6" name="Subtitle 4">
            <a:extLst>
              <a:ext uri="{FF2B5EF4-FFF2-40B4-BE49-F238E27FC236}">
                <a16:creationId xmlns:a16="http://schemas.microsoft.com/office/drawing/2014/main" id="{36EF0826-D37B-ED42-A4D1-0E9D953AC1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78439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7" name="Column 4">
            <a:extLst>
              <a:ext uri="{FF2B5EF4-FFF2-40B4-BE49-F238E27FC236}">
                <a16:creationId xmlns:a16="http://schemas.microsoft.com/office/drawing/2014/main" id="{CB5A08EF-59FA-A34E-A79B-E69C2515DB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13911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817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Double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010714B-F67D-BB4E-BD72-F5575995A6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355C42A9-CCA2-A241-8EFB-F2646A8476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8F93229-4B98-4D48-95A2-B2901D647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49" name="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462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6" name="2">
            <a:extLst>
              <a:ext uri="{FF2B5EF4-FFF2-40B4-BE49-F238E27FC236}">
                <a16:creationId xmlns:a16="http://schemas.microsoft.com/office/drawing/2014/main" id="{D17D20DF-7F50-7847-AA55-BE4484E366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2219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7" name="3">
            <a:extLst>
              <a:ext uri="{FF2B5EF4-FFF2-40B4-BE49-F238E27FC236}">
                <a16:creationId xmlns:a16="http://schemas.microsoft.com/office/drawing/2014/main" id="{FEED5375-BE04-DD48-860C-ADC9A4187C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89976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8" name="4">
            <a:extLst>
              <a:ext uri="{FF2B5EF4-FFF2-40B4-BE49-F238E27FC236}">
                <a16:creationId xmlns:a16="http://schemas.microsoft.com/office/drawing/2014/main" id="{D3C9ED7B-28DB-214B-B183-0B2D936B68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37733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9" name="5">
            <a:extLst>
              <a:ext uri="{FF2B5EF4-FFF2-40B4-BE49-F238E27FC236}">
                <a16:creationId xmlns:a16="http://schemas.microsoft.com/office/drawing/2014/main" id="{836F4DC2-D0EF-D54B-863B-E592B01A8A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4462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0" name="6">
            <a:extLst>
              <a:ext uri="{FF2B5EF4-FFF2-40B4-BE49-F238E27FC236}">
                <a16:creationId xmlns:a16="http://schemas.microsoft.com/office/drawing/2014/main" id="{AF98966C-9920-C44A-A83D-2612A077A8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42219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1" name="7">
            <a:extLst>
              <a:ext uri="{FF2B5EF4-FFF2-40B4-BE49-F238E27FC236}">
                <a16:creationId xmlns:a16="http://schemas.microsoft.com/office/drawing/2014/main" id="{D1984EE8-D54B-A744-A37B-DEBCFC6007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89976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2" name="8">
            <a:extLst>
              <a:ext uri="{FF2B5EF4-FFF2-40B4-BE49-F238E27FC236}">
                <a16:creationId xmlns:a16="http://schemas.microsoft.com/office/drawing/2014/main" id="{7B40AD15-439C-BA4F-9047-4B8A86FDFB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37733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91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150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Graph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7E5B97-5140-1342-B6ED-D224671367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D17B5A40-4A38-5248-B89D-84C868D1FA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0F2683A-ECA5-9C4E-BF91-067F9FA63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1">
            <a:extLst>
              <a:ext uri="{FF2B5EF4-FFF2-40B4-BE49-F238E27FC236}">
                <a16:creationId xmlns:a16="http://schemas.microsoft.com/office/drawing/2014/main" id="{6877937D-3DA9-CD4C-8F73-B4C57F6B89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2054" y="24828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0" name="1 Copy">
            <a:extLst>
              <a:ext uri="{FF2B5EF4-FFF2-40B4-BE49-F238E27FC236}">
                <a16:creationId xmlns:a16="http://schemas.microsoft.com/office/drawing/2014/main" id="{45956B13-ADB8-FB42-9D61-0934942431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68641" y="244089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4" name="2">
            <a:extLst>
              <a:ext uri="{FF2B5EF4-FFF2-40B4-BE49-F238E27FC236}">
                <a16:creationId xmlns:a16="http://schemas.microsoft.com/office/drawing/2014/main" id="{BEE0936E-7081-7D41-B93D-0E5933D3F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49830" y="307515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1" name="2 Copy">
            <a:extLst>
              <a:ext uri="{FF2B5EF4-FFF2-40B4-BE49-F238E27FC236}">
                <a16:creationId xmlns:a16="http://schemas.microsoft.com/office/drawing/2014/main" id="{DBCBFBE9-4518-D945-963C-3573703678A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68641" y="3038674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3">
            <a:extLst>
              <a:ext uri="{FF2B5EF4-FFF2-40B4-BE49-F238E27FC236}">
                <a16:creationId xmlns:a16="http://schemas.microsoft.com/office/drawing/2014/main" id="{49567076-20B4-3642-8E2F-792E66F7EF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0470" y="366017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2" name="3 Copy">
            <a:extLst>
              <a:ext uri="{FF2B5EF4-FFF2-40B4-BE49-F238E27FC236}">
                <a16:creationId xmlns:a16="http://schemas.microsoft.com/office/drawing/2014/main" id="{689E5928-A1E4-6243-A711-E0A1F28C3D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68641" y="3636458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6" name="4">
            <a:extLst>
              <a:ext uri="{FF2B5EF4-FFF2-40B4-BE49-F238E27FC236}">
                <a16:creationId xmlns:a16="http://schemas.microsoft.com/office/drawing/2014/main" id="{A286B0CE-7439-0843-88F7-DD73DB9034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60586" y="4281061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3" name="4 Copy">
            <a:extLst>
              <a:ext uri="{FF2B5EF4-FFF2-40B4-BE49-F238E27FC236}">
                <a16:creationId xmlns:a16="http://schemas.microsoft.com/office/drawing/2014/main" id="{0CC7A3C0-0C37-154F-9CC8-FF8A82DFE13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68641" y="4234242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7" name="5">
            <a:extLst>
              <a:ext uri="{FF2B5EF4-FFF2-40B4-BE49-F238E27FC236}">
                <a16:creationId xmlns:a16="http://schemas.microsoft.com/office/drawing/2014/main" id="{D35007DD-4D32-744C-9E0C-CC04D81DFF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60586" y="486029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5" name="5 Copy">
            <a:extLst>
              <a:ext uri="{FF2B5EF4-FFF2-40B4-BE49-F238E27FC236}">
                <a16:creationId xmlns:a16="http://schemas.microsoft.com/office/drawing/2014/main" id="{DEE6D165-02D6-C142-9029-62B0DDA96A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68641" y="4832026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8" name="6">
            <a:extLst>
              <a:ext uri="{FF2B5EF4-FFF2-40B4-BE49-F238E27FC236}">
                <a16:creationId xmlns:a16="http://schemas.microsoft.com/office/drawing/2014/main" id="{3F434AC7-9FE2-4945-B806-6357E326DA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57312" y="54546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4" name="6 Copy">
            <a:extLst>
              <a:ext uri="{FF2B5EF4-FFF2-40B4-BE49-F238E27FC236}">
                <a16:creationId xmlns:a16="http://schemas.microsoft.com/office/drawing/2014/main" id="{CD847155-579D-9044-9614-337C9A88263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68641" y="542981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120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 – Tabl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2671B7B-445E-B64B-8114-C3FF49315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6" name="Chapter Title">
            <a:extLst>
              <a:ext uri="{FF2B5EF4-FFF2-40B4-BE49-F238E27FC236}">
                <a16:creationId xmlns:a16="http://schemas.microsoft.com/office/drawing/2014/main" id="{4F973414-A48D-024D-8D5D-555A01E509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404CC2A3-2ED5-DB4A-A828-ED53650C053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B25ADB5-7546-5143-B79B-78DCA81BF1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842681"/>
            <a:ext cx="10752234" cy="748230"/>
          </a:xfrm>
        </p:spPr>
        <p:txBody>
          <a:bodyPr anchor="b"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3381096E-0A87-A446-B08F-AFD6FBB17D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1648610"/>
            <a:ext cx="10752236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152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351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912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77129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131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D458F59-CF19-9D49-C2AB-3C48D4C196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74AB1EBE-4491-4616-D7DF-4C6FCC615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52310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595D9C4-58B3-A9CC-9598-24F869DC76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3187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841" y="1825625"/>
            <a:ext cx="11315911" cy="435133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agazine Grotesque" pitchFamily="2" charset="77"/>
              </a:defRPr>
            </a:lvl1pPr>
            <a:lvl2pPr>
              <a:defRPr b="0" i="0">
                <a:latin typeface="Magazine Grotesque" pitchFamily="2" charset="77"/>
              </a:defRPr>
            </a:lvl2pPr>
            <a:lvl3pPr>
              <a:defRPr b="0" i="0">
                <a:latin typeface="Magazine Grotesque" pitchFamily="2" charset="77"/>
              </a:defRPr>
            </a:lvl3pPr>
            <a:lvl4pPr>
              <a:defRPr b="0" i="0">
                <a:latin typeface="Magazine Grotesque" pitchFamily="2" charset="77"/>
              </a:defRPr>
            </a:lvl4pPr>
            <a:lvl5pPr>
              <a:defRPr b="0" i="0"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121C30A-2478-DD68-AA01-B696BF05B4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97088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97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583142"/>
          </a:xfrm>
        </p:spPr>
        <p:txBody>
          <a:bodyPr vert="horz">
            <a:normAutofit/>
          </a:bodyPr>
          <a:lstStyle>
            <a:lvl1pPr>
              <a:defRPr sz="2800">
                <a:latin typeface="Magazine Grotesque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285" y="1018117"/>
            <a:ext cx="11313466" cy="5158846"/>
          </a:xfrm>
          <a:prstGeom prst="rect">
            <a:avLst/>
          </a:prstGeom>
        </p:spPr>
        <p:txBody>
          <a:bodyPr/>
          <a:lstStyle>
            <a:lvl1pPr>
              <a:defRPr>
                <a:latin typeface="Magazine Grotesque" pitchFamily="2" charset="77"/>
              </a:defRPr>
            </a:lvl1pPr>
            <a:lvl2pPr>
              <a:defRPr>
                <a:latin typeface="Magazine Grotesque" pitchFamily="2" charset="77"/>
              </a:defRPr>
            </a:lvl2pPr>
            <a:lvl3pPr>
              <a:defRPr>
                <a:latin typeface="Magazine Grotesque" pitchFamily="2" charset="77"/>
              </a:defRPr>
            </a:lvl3pPr>
            <a:lvl4pPr>
              <a:defRPr>
                <a:latin typeface="Magazine Grotesque" pitchFamily="2" charset="77"/>
              </a:defRPr>
            </a:lvl4pPr>
            <a:lvl5pPr>
              <a:defRPr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845EB33-BC40-B541-2DE3-635AE372B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76740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2D4F08D-BE1E-443D-8782-37662CDDF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99AE9EF-61EB-ACFA-4820-EBD3F6BBD8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E05E0AA-A4C4-9006-5021-1A09E19FC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058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Display Date">
            <a:extLst>
              <a:ext uri="{FF2B5EF4-FFF2-40B4-BE49-F238E27FC236}">
                <a16:creationId xmlns:a16="http://schemas.microsoft.com/office/drawing/2014/main" id="{EAD50B81-779F-8B92-2873-78302959C0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" name="Name &amp; Surname">
            <a:extLst>
              <a:ext uri="{FF2B5EF4-FFF2-40B4-BE49-F238E27FC236}">
                <a16:creationId xmlns:a16="http://schemas.microsoft.com/office/drawing/2014/main" id="{B78998DC-34A4-E505-E5B2-065B7AD50D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2127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22047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Red">
    <p:bg>
      <p:bgPr>
        <a:solidFill>
          <a:srgbClr val="D023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E2B1DE6-88E8-5940-A140-CEFB25E44F8E}"/>
              </a:ext>
            </a:extLst>
          </p:cNvPr>
          <p:cNvGrpSpPr/>
          <p:nvPr userDrawn="1"/>
        </p:nvGrpSpPr>
        <p:grpSpPr>
          <a:xfrm>
            <a:off x="4881651" y="1981444"/>
            <a:ext cx="1448597" cy="1447556"/>
            <a:chOff x="6811876" y="1647187"/>
            <a:chExt cx="1448597" cy="1447556"/>
          </a:xfrm>
          <a:solidFill>
            <a:srgbClr val="CF2330"/>
          </a:solidFill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5721BDD7-D6BA-9649-A6F4-0BD415AF2BBF}"/>
                </a:ext>
              </a:extLst>
            </p:cNvPr>
            <p:cNvSpPr/>
            <p:nvPr/>
          </p:nvSpPr>
          <p:spPr>
            <a:xfrm>
              <a:off x="6811876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5FD3D976-7A1B-2F46-AA9C-FA3A12C5BBFB}"/>
                </a:ext>
              </a:extLst>
            </p:cNvPr>
            <p:cNvSpPr/>
            <p:nvPr/>
          </p:nvSpPr>
          <p:spPr>
            <a:xfrm>
              <a:off x="7359631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ABBAC0A5-63D6-614C-8289-4285E5C9A790}"/>
                </a:ext>
              </a:extLst>
            </p:cNvPr>
            <p:cNvSpPr/>
            <p:nvPr/>
          </p:nvSpPr>
          <p:spPr>
            <a:xfrm>
              <a:off x="6811876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9A6C329C-9F49-674D-BE6B-CD803B5FD671}"/>
                </a:ext>
              </a:extLst>
            </p:cNvPr>
            <p:cNvSpPr/>
            <p:nvPr/>
          </p:nvSpPr>
          <p:spPr>
            <a:xfrm>
              <a:off x="7359631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3AA23DE-9635-6412-5B6C-4805B44D61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DE06899-4B4E-2102-66E0-D77B3B40FD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2C58259-AE6E-64AC-051F-5732D61AEEF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2">
            <a:extLst>
              <a:ext uri="{FF2B5EF4-FFF2-40B4-BE49-F238E27FC236}">
                <a16:creationId xmlns:a16="http://schemas.microsoft.com/office/drawing/2014/main" id="{B52EF902-D983-5F8B-3016-8434C60F7C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9AE8B7C-8817-1AB6-CFA8-C9FB6B45D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48284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-Pink">
    <p:bg>
      <p:bgPr>
        <a:solidFill>
          <a:srgbClr val="F57E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4F9CC8-40EA-727F-B4C5-375BA4128C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A986FFF-E5EB-6060-A806-31D3A1929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241993-9B36-94BA-B100-31BD0F97012C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CAE09AD-9EF3-5145-CBD6-0B07557519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A38BE7-9D59-AE99-EAFE-3C7A12321E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45609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School Bus">
    <p:bg>
      <p:bgPr>
        <a:solidFill>
          <a:srgbClr val="F7A3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993E68-347E-3FDE-ED81-6B1A358C1F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2ACC53-AFB8-B50A-5774-291260F45A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78D9F8B-A123-0ABF-BF76-DDAED5EB9697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27B8CB88-27E5-0001-71B8-27C9E8157C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77752FC-31AC-31FD-3BC7-B921363C30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54031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ink">
    <p:bg>
      <p:bgPr>
        <a:solidFill>
          <a:srgbClr val="F8B5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579E66-55D7-8DB0-F033-35722CC012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EB8F7CF-6101-40E5-0A6D-9349817F16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B403343-90AC-F034-0A23-0078D1BAC4B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423447F-FBF7-09FD-F74B-F45BAEA269B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074FC0B-E844-EC17-677B-0D8820D63A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67548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ew Pink">
    <p:bg>
      <p:bgPr>
        <a:solidFill>
          <a:srgbClr val="FAD2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8EFA60-78F3-8B23-C7C7-E4845471E9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703B7DF-5404-9872-A5D2-95007F07D3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52F7702-2618-9B92-15C3-05C9A7A9CE5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667FDE22-E217-2D1E-77F6-5690AABB8C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1A10CBB-8EAE-F407-6C3C-B83304AE5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33731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Lt.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5DEF1-A907-F258-BE12-C59E95BBB7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51DA41C-D0B1-AD27-F710-DDAE323E20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4157273-9671-116E-15A9-34D8FB1836D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7547D791-D560-6AF4-BA19-3F7D8CDF97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657A61D-7CAB-5542-B874-288252F399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79885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900189-5AA2-7FD6-A83C-7485413478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2A94F57-B22C-FA69-3F5A-1800DAF867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24C75A6-0676-0707-2DA0-9F4F2B6E0D42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02B3A761-F93E-768E-678B-6A2853A798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0B2227A-AB96-E66D-6959-34F64E1FB2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56080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808358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4C621B4-9BA6-FE43-9C64-9788F9AAAA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0" name="Picture 9" descr="McGraw Hill cube Logo">
            <a:extLst>
              <a:ext uri="{FF2B5EF4-FFF2-40B4-BE49-F238E27FC236}">
                <a16:creationId xmlns:a16="http://schemas.microsoft.com/office/drawing/2014/main" id="{DA944CFB-F2AB-1F4B-A4C9-0C1C0870C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50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90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281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8582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75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906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40488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436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8C330D-E520-B044-BD7F-823FA39703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25"/>
          <a:stretch/>
        </p:blipFill>
        <p:spPr>
          <a:xfrm>
            <a:off x="0" y="728662"/>
            <a:ext cx="12187066" cy="6129337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8AE447BA-E1FE-7549-9DBC-7AACD8913A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2853" y="1433824"/>
            <a:ext cx="2583634" cy="1183772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F4F9D-236C-FE44-AC73-5145CBDED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5566" y="2132792"/>
            <a:ext cx="6331352" cy="3515654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08BA20F-287E-A64B-B0E2-6A026B4332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2C589809-6889-304F-BCFD-CB64BE2997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771E4932-0E80-7849-8F31-59BE385071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E74A92CB-3D2E-0446-A274-2F2CAA3160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1895650C-4BDD-2C4A-B540-9EC7AF02BBF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Copy 2">
            <a:extLst>
              <a:ext uri="{FF2B5EF4-FFF2-40B4-BE49-F238E27FC236}">
                <a16:creationId xmlns:a16="http://schemas.microsoft.com/office/drawing/2014/main" id="{83FC4E0C-81D0-2843-AF35-C8972AD081A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44" name="Copy 2">
            <a:extLst>
              <a:ext uri="{FF2B5EF4-FFF2-40B4-BE49-F238E27FC236}">
                <a16:creationId xmlns:a16="http://schemas.microsoft.com/office/drawing/2014/main" id="{4ECEB2AE-9816-3A4C-938A-3042348F0EE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Copy 2">
            <a:extLst>
              <a:ext uri="{FF2B5EF4-FFF2-40B4-BE49-F238E27FC236}">
                <a16:creationId xmlns:a16="http://schemas.microsoft.com/office/drawing/2014/main" id="{0538509E-84DE-5B48-9C6C-F12FEB805C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0" name="Copy 2">
            <a:extLst>
              <a:ext uri="{FF2B5EF4-FFF2-40B4-BE49-F238E27FC236}">
                <a16:creationId xmlns:a16="http://schemas.microsoft.com/office/drawing/2014/main" id="{230F3435-ED54-634F-BEC4-8BA3E46EEE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Copy 2">
            <a:extLst>
              <a:ext uri="{FF2B5EF4-FFF2-40B4-BE49-F238E27FC236}">
                <a16:creationId xmlns:a16="http://schemas.microsoft.com/office/drawing/2014/main" id="{3832C629-D010-424E-8A08-13B9003331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36" name="Copy 2">
            <a:extLst>
              <a:ext uri="{FF2B5EF4-FFF2-40B4-BE49-F238E27FC236}">
                <a16:creationId xmlns:a16="http://schemas.microsoft.com/office/drawing/2014/main" id="{D446FFD1-F5A6-7C4B-B3E0-9B8AF09F11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52" name="Subtitle">
            <a:extLst>
              <a:ext uri="{FF2B5EF4-FFF2-40B4-BE49-F238E27FC236}">
                <a16:creationId xmlns:a16="http://schemas.microsoft.com/office/drawing/2014/main" id="{409D71C9-875A-1A4D-8CAB-D768AA686F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6028" y="2021714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9D511974-7E30-5F48-9610-8BB584FB3B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6028" y="1648584"/>
            <a:ext cx="2190520" cy="332905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/>
          </a:p>
        </p:txBody>
      </p:sp>
      <p:sp>
        <p:nvSpPr>
          <p:cNvPr id="26" name="Chapter Title">
            <a:extLst>
              <a:ext uri="{FF2B5EF4-FFF2-40B4-BE49-F238E27FC236}">
                <a16:creationId xmlns:a16="http://schemas.microsoft.com/office/drawing/2014/main" id="{76329F06-79E5-9746-AFE7-EEB936821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57D0B80-12FD-454F-BA40-B491810A45CD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85277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s_N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9539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86BE882A-7C95-DB46-BB47-D80D783466A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Copy 2">
            <a:extLst>
              <a:ext uri="{FF2B5EF4-FFF2-40B4-BE49-F238E27FC236}">
                <a16:creationId xmlns:a16="http://schemas.microsoft.com/office/drawing/2014/main" id="{8E79F517-E97A-2748-BB37-5253B0C35F4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4" name="Copy 2">
            <a:extLst>
              <a:ext uri="{FF2B5EF4-FFF2-40B4-BE49-F238E27FC236}">
                <a16:creationId xmlns:a16="http://schemas.microsoft.com/office/drawing/2014/main" id="{3B8A7439-D821-E74D-A59D-0A056B5D0A5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53" name="Copy 2">
            <a:extLst>
              <a:ext uri="{FF2B5EF4-FFF2-40B4-BE49-F238E27FC236}">
                <a16:creationId xmlns:a16="http://schemas.microsoft.com/office/drawing/2014/main" id="{31B6FA48-16DD-004A-9464-40670B7009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52" name="Copy 2">
            <a:extLst>
              <a:ext uri="{FF2B5EF4-FFF2-40B4-BE49-F238E27FC236}">
                <a16:creationId xmlns:a16="http://schemas.microsoft.com/office/drawing/2014/main" id="{265B6FF0-F656-0B43-B8D5-E437272BE50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96FFBA0B-358D-D141-BE91-646C0B1AD23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8E55FD44-AA75-3240-B10E-45B18867F87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Copy 2">
            <a:extLst>
              <a:ext uri="{FF2B5EF4-FFF2-40B4-BE49-F238E27FC236}">
                <a16:creationId xmlns:a16="http://schemas.microsoft.com/office/drawing/2014/main" id="{F33E9590-2B13-C240-8A3F-C37F5BF0FA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8" name="Copy 2">
            <a:extLst>
              <a:ext uri="{FF2B5EF4-FFF2-40B4-BE49-F238E27FC236}">
                <a16:creationId xmlns:a16="http://schemas.microsoft.com/office/drawing/2014/main" id="{45AB5212-6841-5641-A6E9-2439AD1F5E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69222BC1-7ACE-A845-B5C4-562B12BD884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FFB5E7A5-06FF-8E41-A206-8FE0483CFA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45" name="Subtitle">
            <a:extLst>
              <a:ext uri="{FF2B5EF4-FFF2-40B4-BE49-F238E27FC236}">
                <a16:creationId xmlns:a16="http://schemas.microsoft.com/office/drawing/2014/main" id="{E6A78EA7-0D45-D84E-9603-8D69EB853F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9052" y="2023690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ADCA9C4C-4F7B-8F4F-A1CD-CFC62E52FC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4118751" cy="332905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2" name="Chapter Title">
            <a:extLst>
              <a:ext uri="{FF2B5EF4-FFF2-40B4-BE49-F238E27FC236}">
                <a16:creationId xmlns:a16="http://schemas.microsoft.com/office/drawing/2014/main" id="{A3C8596E-EA5D-684C-8A87-6E61DFA8A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E84DAE-CB25-CA46-92DA-96F9B98F3A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418133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140FAE7B-C969-EA4C-B018-E010BFDDB3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0" name="Picture 29" descr="McGraw Hill cube Logo">
            <a:extLst>
              <a:ext uri="{FF2B5EF4-FFF2-40B4-BE49-F238E27FC236}">
                <a16:creationId xmlns:a16="http://schemas.microsoft.com/office/drawing/2014/main" id="{FEAEE38D-F776-C54D-998E-34EC9E04A1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756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44F715-949A-4B0A-5E61-32B593168F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624423C3-3CC8-6B32-9362-91ED190AD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62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FD39785A-557E-E14B-A935-CDBDBDD4CDA3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E37CF15-892E-7F49-AF0C-7BE439FF32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838D3D7-DCCD-8346-A433-F53F64323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0E26DE9-E717-A84D-B0C4-9053EBE19F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9649"/>
            <a:ext cx="11851251" cy="5338782"/>
            <a:chOff x="-14169" y="506202"/>
            <a:chExt cx="11851251" cy="5338782"/>
          </a:xfrm>
          <a:solidFill>
            <a:schemeClr val="bg1"/>
          </a:solidFill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D29C28D-14ED-B84E-8E53-A6BB8329DEDB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89AA42A9-15FB-6749-AE69-FC1D7B7168F3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  <a:grpFill/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2B22248-2D53-E247-AA3F-ED2E1D124D64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F1BFD95-5698-FF43-AD20-66576A3F3D3A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A044FDD-50FA-1648-9457-EC05013947C0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96C32C9E-D401-6E48-9976-914E453C4AD3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grpFill/>
            </p:grpSpPr>
            <p:sp>
              <p:nvSpPr>
                <p:cNvPr id="38" name="Parallelogram 37">
                  <a:extLst>
                    <a:ext uri="{FF2B5EF4-FFF2-40B4-BE49-F238E27FC236}">
                      <a16:creationId xmlns:a16="http://schemas.microsoft.com/office/drawing/2014/main" id="{71008BFB-11BC-2542-8376-F7BB3B08D447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38">
                  <a:extLst>
                    <a:ext uri="{FF2B5EF4-FFF2-40B4-BE49-F238E27FC236}">
                      <a16:creationId xmlns:a16="http://schemas.microsoft.com/office/drawing/2014/main" id="{BFC3B435-F175-C845-9FEA-61EBC171A2A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E2D5033-F106-D542-AA2A-50FF984D99EF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C069C5FF-C4F5-3B4E-990A-A42FD42A45F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E887DFBA-3B0F-FA44-9309-DD5EEEB5A3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7B6EED-A51B-1508-D9E2-272A0FFC1A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3" name="Picture 22" descr="McGraw Hill red cube Logo">
            <a:extLst>
              <a:ext uri="{FF2B5EF4-FFF2-40B4-BE49-F238E27FC236}">
                <a16:creationId xmlns:a16="http://schemas.microsoft.com/office/drawing/2014/main" id="{044DDC38-FB28-EF4C-ADCF-A9C98CF649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241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EC6ED01-89A0-7B4E-84D8-3604A114E3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238B502-8BAD-5248-B9DE-FB96A0F868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7754"/>
            <a:ext cx="11851251" cy="5338782"/>
            <a:chOff x="-14169" y="506202"/>
            <a:chExt cx="11851251" cy="533878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A8C88DB-8810-E447-8A81-0F3785A8C157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282E3CE-BD2B-6340-900F-B2BA9F83F177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D9A29EC1-CD07-CB4F-92F6-2FBF0D61BF1C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3A07749-049F-F14B-A2DF-F987E7A19542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EB25190-E7AE-5641-B401-057448851CBD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DF062EBD-C107-A945-A796-8FBA20908D1F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solidFill>
                <a:srgbClr val="E21A23"/>
              </a:solidFill>
            </p:grpSpPr>
            <p:sp>
              <p:nvSpPr>
                <p:cNvPr id="17" name="Parallelogram 16">
                  <a:extLst>
                    <a:ext uri="{FF2B5EF4-FFF2-40B4-BE49-F238E27FC236}">
                      <a16:creationId xmlns:a16="http://schemas.microsoft.com/office/drawing/2014/main" id="{F6133709-CC2E-AD4D-B22A-55D6A67BD879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" name="Parallelogram 17">
                  <a:extLst>
                    <a:ext uri="{FF2B5EF4-FFF2-40B4-BE49-F238E27FC236}">
                      <a16:creationId xmlns:a16="http://schemas.microsoft.com/office/drawing/2014/main" id="{3D135569-176F-D34C-B1AA-FC3F2A4245B6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08783BD0-5800-864A-85E4-A5FA8CDECACD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092AABA7-D5EC-3E42-92EF-22F71D9466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4E6E17B-B3EE-D24B-8186-59427D04F31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316A894F-484A-204F-ABA7-30CBA739C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2B211AD-4A3A-0F47-97B5-BEA7151AA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6" name="Picture 25" descr="McGraw Hill red cube Logo">
            <a:extLst>
              <a:ext uri="{FF2B5EF4-FFF2-40B4-BE49-F238E27FC236}">
                <a16:creationId xmlns:a16="http://schemas.microsoft.com/office/drawing/2014/main" id="{A18E319A-A3FF-CB41-AC94-68C78BF6DA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287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3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6BC6A701-16E4-384A-B480-07F21A4EB6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3" name="Headline 2">
            <a:extLst>
              <a:ext uri="{FF2B5EF4-FFF2-40B4-BE49-F238E27FC236}">
                <a16:creationId xmlns:a16="http://schemas.microsoft.com/office/drawing/2014/main" id="{5F149B35-BE87-6D4B-A76F-EE326743B2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8AAD9075-C0FD-4F01-4CCF-5A2EB367446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0A8ABF64-91D8-2F48-97D4-73DC521F41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0883309-70D3-0340-B14E-BE30AF3BDB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954877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4B65D06A-C660-304A-BF51-E53969C245E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A407A57A-3991-234C-BB4D-C76AA72241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7613E3-528C-4B48-962F-218DA3062E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4341A4-E791-D44E-AC57-83B8D4678A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841270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1550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200" cy="61314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5E1BBCE-1234-3F43-9A61-5DFC3A3C1E1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A78ABDEE-3F66-9544-9A11-A8EE097D13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459054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endParaRPr lang="en-US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129857A-4191-9E44-B536-ECD8F7869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D50FC85D-27CD-FF4D-8BFA-DF4E67E5B43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799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092D0355-EC65-A840-8C46-2F2D005A4B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5827C1-94DC-5940-A85A-10CDA96F28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921348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481580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909D505E-311A-9742-9802-6BA20700E6E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3E5E1A-83D6-C743-AA00-2266C72F07C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Column 1">
            <a:extLst>
              <a:ext uri="{FF2B5EF4-FFF2-40B4-BE49-F238E27FC236}">
                <a16:creationId xmlns:a16="http://schemas.microsoft.com/office/drawing/2014/main" id="{84811588-2F3A-374E-A3FD-346248EA13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A93A090-B6E4-C645-ACB7-BA8B5BBC5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9BB60C-87AB-3B4D-9FA6-2E22249D4D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230493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199" cy="61314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B24EE79-0614-1C44-9851-9AF8AE45475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7BE2A8A8-9F48-D340-BBE6-3CCC22FF30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359663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6C2F877-471D-F64A-908A-B18F178596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8187EC-ADB8-8D41-852E-6A8DD6FB36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800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83F9BD00-9860-B24B-A115-ADCF1F873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7715F7-79AE-4445-BAD3-85182EECD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59669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C4D0ECBF-4E72-77E1-6744-5633305B89F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06282726-7744-71C7-52A7-0E097341F0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Headline 2">
            <a:extLst>
              <a:ext uri="{FF2B5EF4-FFF2-40B4-BE49-F238E27FC236}">
                <a16:creationId xmlns:a16="http://schemas.microsoft.com/office/drawing/2014/main" id="{3B9320FD-ECFE-2547-B24C-41807BE745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26A6B253-D5CC-3F6C-B9F3-19D6063668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6E612916-D698-B646-8E99-73538FEC0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hapter Title">
            <a:extLst>
              <a:ext uri="{FF2B5EF4-FFF2-40B4-BE49-F238E27FC236}">
                <a16:creationId xmlns:a16="http://schemas.microsoft.com/office/drawing/2014/main" id="{3B15BE9E-15AB-6248-BC6C-65FA9B4190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D7113C-B06C-114F-9BC4-D9927D5EDD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507016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77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0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Path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op Nav">
            <a:extLst>
              <a:ext uri="{FF2B5EF4-FFF2-40B4-BE49-F238E27FC236}">
                <a16:creationId xmlns:a16="http://schemas.microsoft.com/office/drawing/2014/main" id="{B0DBB454-2923-D247-A793-2E1AD83EDC61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896931D-0790-784E-B4DB-8ED1ACF447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1" y="3321724"/>
            <a:ext cx="12191998" cy="3027950"/>
            <a:chOff x="1" y="2621937"/>
            <a:chExt cx="12191998" cy="3027950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5043362-8F75-0745-A63A-7834495F8714}"/>
                </a:ext>
              </a:extLst>
            </p:cNvPr>
            <p:cNvGrpSpPr/>
            <p:nvPr userDrawn="1"/>
          </p:nvGrpSpPr>
          <p:grpSpPr>
            <a:xfrm>
              <a:off x="1" y="2621937"/>
              <a:ext cx="2001201" cy="233422"/>
              <a:chOff x="0" y="2656480"/>
              <a:chExt cx="9572617" cy="233422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E66ECAB-7133-AD4B-B0EE-28A4BEF04CAC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C11623C-AC1A-4A43-A565-9255506E6567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8D16141-CCAB-0746-8535-98B2E101BCFA}"/>
                </a:ext>
              </a:extLst>
            </p:cNvPr>
            <p:cNvGrpSpPr/>
            <p:nvPr userDrawn="1"/>
          </p:nvGrpSpPr>
          <p:grpSpPr>
            <a:xfrm rot="5400000">
              <a:off x="428932" y="4077616"/>
              <a:ext cx="2911120" cy="233422"/>
              <a:chOff x="0" y="2656480"/>
              <a:chExt cx="9572617" cy="233422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952A5FA2-4E0D-C54C-BB84-BDD6D943E8D4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CC389AD1-AB5B-BD49-AB38-9B9B1604791E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969F282-EF38-FC40-905F-6E5D77FB9041}"/>
                </a:ext>
              </a:extLst>
            </p:cNvPr>
            <p:cNvGrpSpPr/>
            <p:nvPr userDrawn="1"/>
          </p:nvGrpSpPr>
          <p:grpSpPr>
            <a:xfrm>
              <a:off x="1884490" y="5416463"/>
              <a:ext cx="10307509" cy="233422"/>
              <a:chOff x="0" y="2656480"/>
              <a:chExt cx="9572617" cy="233422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EFC2C7F0-EC9D-D44C-B4DD-06FE6C88E716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7BDA258-0A0D-F741-9901-55DEAA79A460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F5B8D5-712F-414E-A26F-6FA978D44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D7037DB2-618C-FC4F-9EF6-9DD3982345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8" name="Pg">
            <a:extLst>
              <a:ext uri="{FF2B5EF4-FFF2-40B4-BE49-F238E27FC236}">
                <a16:creationId xmlns:a16="http://schemas.microsoft.com/office/drawing/2014/main" id="{75E0C428-3E02-FA42-99AF-95E6B1BE253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D785BAF5-3D1A-EB44-9381-2C704C2238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450" y="958960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0" name="01">
            <a:extLst>
              <a:ext uri="{FF2B5EF4-FFF2-40B4-BE49-F238E27FC236}">
                <a16:creationId xmlns:a16="http://schemas.microsoft.com/office/drawing/2014/main" id="{C7460D23-DB38-E34B-9711-F933BB9213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351" y="181383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" name="Headline 1">
            <a:extLst>
              <a:ext uri="{FF2B5EF4-FFF2-40B4-BE49-F238E27FC236}">
                <a16:creationId xmlns:a16="http://schemas.microsoft.com/office/drawing/2014/main" id="{8E9BAA1C-DF88-B445-9BDF-5E8FB00ADB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9197" y="1813832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50" name="Copy 1">
            <a:extLst>
              <a:ext uri="{FF2B5EF4-FFF2-40B4-BE49-F238E27FC236}">
                <a16:creationId xmlns:a16="http://schemas.microsoft.com/office/drawing/2014/main" id="{238D5C13-6BC6-864C-852E-088734E0F5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12671" y="2265940"/>
            <a:ext cx="4241637" cy="420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</p:txBody>
      </p:sp>
      <p:sp>
        <p:nvSpPr>
          <p:cNvPr id="33" name="02">
            <a:extLst>
              <a:ext uri="{FF2B5EF4-FFF2-40B4-BE49-F238E27FC236}">
                <a16:creationId xmlns:a16="http://schemas.microsoft.com/office/drawing/2014/main" id="{502F8C79-77C0-5C48-867D-B292CA3E5A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450" y="3291803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Headline 2">
            <a:extLst>
              <a:ext uri="{FF2B5EF4-FFF2-40B4-BE49-F238E27FC236}">
                <a16:creationId xmlns:a16="http://schemas.microsoft.com/office/drawing/2014/main" id="{1217D55F-AC99-6C4B-A91A-B525B2F82D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6296" y="3291803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69" name="Copy 2">
            <a:extLst>
              <a:ext uri="{FF2B5EF4-FFF2-40B4-BE49-F238E27FC236}">
                <a16:creationId xmlns:a16="http://schemas.microsoft.com/office/drawing/2014/main" id="{6B38AE9F-747B-2849-9A2B-8E78114D04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99196" y="3698521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36" name="03">
            <a:extLst>
              <a:ext uri="{FF2B5EF4-FFF2-40B4-BE49-F238E27FC236}">
                <a16:creationId xmlns:a16="http://schemas.microsoft.com/office/drawing/2014/main" id="{8C7E74A7-FBB4-F44D-9FD3-F3C86CE25C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8563" y="4758717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8" name="Headline 3">
            <a:extLst>
              <a:ext uri="{FF2B5EF4-FFF2-40B4-BE49-F238E27FC236}">
                <a16:creationId xmlns:a16="http://schemas.microsoft.com/office/drawing/2014/main" id="{A5C9EDD8-7B5C-B14B-A1FE-E4BC3B6F3C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06296" y="4752591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0" name="Copy 3">
            <a:extLst>
              <a:ext uri="{FF2B5EF4-FFF2-40B4-BE49-F238E27FC236}">
                <a16:creationId xmlns:a16="http://schemas.microsoft.com/office/drawing/2014/main" id="{C2895A15-FE9A-7A4F-8035-F76C77E050E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12671" y="5182326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C093DB3-273B-AF41-9798-B6C4095D961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35788" y="1746250"/>
            <a:ext cx="4148137" cy="5111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345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3287A0-C8FD-6449-8310-14600C68CD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3321723"/>
            <a:ext cx="12192000" cy="3027951"/>
            <a:chOff x="0" y="2621937"/>
            <a:chExt cx="12192000" cy="3027951"/>
          </a:xfrm>
          <a:solidFill>
            <a:schemeClr val="accent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A87DFCB-27DE-CA43-932D-377A4B7A96E8}"/>
                </a:ext>
              </a:extLst>
            </p:cNvPr>
            <p:cNvSpPr/>
            <p:nvPr userDrawn="1"/>
          </p:nvSpPr>
          <p:spPr>
            <a:xfrm>
              <a:off x="0" y="2621937"/>
              <a:ext cx="1821468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F4C1B40-A6DC-E140-A12A-4D94A2DA9CA4}"/>
                </a:ext>
              </a:extLst>
            </p:cNvPr>
            <p:cNvSpPr/>
            <p:nvPr userDrawn="1"/>
          </p:nvSpPr>
          <p:spPr>
            <a:xfrm rot="5400000">
              <a:off x="372227" y="4020914"/>
              <a:ext cx="3027951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F788E9F-4D6F-FC49-AFFB-0DB170A87861}"/>
                </a:ext>
              </a:extLst>
            </p:cNvPr>
            <p:cNvSpPr/>
            <p:nvPr userDrawn="1"/>
          </p:nvSpPr>
          <p:spPr>
            <a:xfrm>
              <a:off x="1810327" y="5419887"/>
              <a:ext cx="10381673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D26904-2D64-A041-AED1-1566B3F825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9A5F8572-960D-D448-90C2-B30ED42846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48342CED-001C-AD48-8427-D341DEBD80C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5B0E7CBC-867F-A54C-812D-51EB02B0D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4895" y="958960"/>
            <a:ext cx="4796859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8" name="01">
            <a:extLst>
              <a:ext uri="{FF2B5EF4-FFF2-40B4-BE49-F238E27FC236}">
                <a16:creationId xmlns:a16="http://schemas.microsoft.com/office/drawing/2014/main" id="{4DD26A78-8BCB-B24A-B98B-D3C5C72014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97796" y="1718735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7" name="Headline 1">
            <a:extLst>
              <a:ext uri="{FF2B5EF4-FFF2-40B4-BE49-F238E27FC236}">
                <a16:creationId xmlns:a16="http://schemas.microsoft.com/office/drawing/2014/main" id="{F77579FA-E0A6-BE4E-B83A-0F7305BA49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46642" y="1718735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9" name="Copy 1">
            <a:extLst>
              <a:ext uri="{FF2B5EF4-FFF2-40B4-BE49-F238E27FC236}">
                <a16:creationId xmlns:a16="http://schemas.microsoft.com/office/drawing/2014/main" id="{2388C246-4C64-A44F-961B-615B097BA7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53018" y="2156391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02">
            <a:extLst>
              <a:ext uri="{FF2B5EF4-FFF2-40B4-BE49-F238E27FC236}">
                <a16:creationId xmlns:a16="http://schemas.microsoft.com/office/drawing/2014/main" id="{830944A2-8584-BC4A-92AA-32D0B4464A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4895" y="3196706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0" name="Headline 2">
            <a:extLst>
              <a:ext uri="{FF2B5EF4-FFF2-40B4-BE49-F238E27FC236}">
                <a16:creationId xmlns:a16="http://schemas.microsoft.com/office/drawing/2014/main" id="{FDD69F5D-AB79-3845-A6F2-385D5C5B1B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3741" y="3196706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2" name="Copy 2">
            <a:extLst>
              <a:ext uri="{FF2B5EF4-FFF2-40B4-BE49-F238E27FC236}">
                <a16:creationId xmlns:a16="http://schemas.microsoft.com/office/drawing/2014/main" id="{3D89D222-7622-9044-A731-85FC8011D9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60117" y="3634362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03">
            <a:extLst>
              <a:ext uri="{FF2B5EF4-FFF2-40B4-BE49-F238E27FC236}">
                <a16:creationId xmlns:a16="http://schemas.microsoft.com/office/drawing/2014/main" id="{A0717EC4-4CFA-3746-A443-E79E29767C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6008" y="465438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45" name="Headline 3">
            <a:extLst>
              <a:ext uri="{FF2B5EF4-FFF2-40B4-BE49-F238E27FC236}">
                <a16:creationId xmlns:a16="http://schemas.microsoft.com/office/drawing/2014/main" id="{0D57046F-F33F-6840-BE9B-EAD06F2C96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53741" y="4657494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Copy 3">
            <a:extLst>
              <a:ext uri="{FF2B5EF4-FFF2-40B4-BE49-F238E27FC236}">
                <a16:creationId xmlns:a16="http://schemas.microsoft.com/office/drawing/2014/main" id="{4F9721F3-9853-5247-BD5C-9420E958AD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1230" y="5092596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6DB3A7-20E0-684E-9A74-A2BF27E7FB5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069975" y="1373188"/>
            <a:ext cx="4438650" cy="54848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196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836D77-0D00-81FC-192F-18388A3072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771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B842EDC8-9FFB-2849-A229-4E95F1FA8F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874" cy="923533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4F1E58E-5201-7248-9458-9D353017E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EB94A7-64EA-3C44-B1A7-F2BF742D98D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33204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Numeral Date">
            <a:extLst>
              <a:ext uri="{FF2B5EF4-FFF2-40B4-BE49-F238E27FC236}">
                <a16:creationId xmlns:a16="http://schemas.microsoft.com/office/drawing/2014/main" id="{EAEF7B50-2449-3847-A9B3-BC55E2EFB2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Name &amp; Surname">
            <a:extLst>
              <a:ext uri="{FF2B5EF4-FFF2-40B4-BE49-F238E27FC236}">
                <a16:creationId xmlns:a16="http://schemas.microsoft.com/office/drawing/2014/main" id="{1BE2989A-80FF-6748-9A18-6CF1DD0939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347901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1" name="Subtitle">
            <a:extLst>
              <a:ext uri="{FF2B5EF4-FFF2-40B4-BE49-F238E27FC236}">
                <a16:creationId xmlns:a16="http://schemas.microsoft.com/office/drawing/2014/main" id="{89FF4802-A4D3-434E-9424-1B51794D3F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4BE9A612-EC57-864B-AADF-3B43A50F46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519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E6948A-A3B1-F139-AEDB-5E631C58B4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96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EC68AE-8387-1A40-2D4A-2C57F3A6FB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739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D9FC49DD-4F8B-CF98-C24E-3D77881819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728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56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72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909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00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 - Cover Slide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2581768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Arial" panose="020B0604020202020204" pitchFamily="34" charset="0"/>
            </a:endParaRP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89860AF3-B11D-E044-9D8F-73B99FD308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5026" y="2978282"/>
            <a:ext cx="2341460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4DC76FFC-829F-2E41-8010-283209A5F5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3004" y="354173"/>
            <a:ext cx="2493543" cy="211306"/>
          </a:xfr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FFD2E4EE-B4A2-8B45-B517-3A2016545C0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3976B47-2A89-7E1C-4938-FDDCFFD5DF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3" name="Title">
            <a:extLst>
              <a:ext uri="{FF2B5EF4-FFF2-40B4-BE49-F238E27FC236}">
                <a16:creationId xmlns:a16="http://schemas.microsoft.com/office/drawing/2014/main" id="{4134A905-D06B-FAE7-A7C4-664E8D45C9AD}"/>
              </a:ext>
            </a:extLst>
          </p:cNvPr>
          <p:cNvSpPr txBox="1">
            <a:spLocks/>
          </p:cNvSpPr>
          <p:nvPr userDrawn="1"/>
        </p:nvSpPr>
        <p:spPr>
          <a:xfrm>
            <a:off x="682672" y="7515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3860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431BC4-FA1F-4029-B4CB-B47323FFB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DF5675-32B7-4D35-AE2B-978AE1197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15AD0C-07DB-4418-8107-789D281B336C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100748-5877-469E-9BCE-C929CDCDD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72884F-AEA2-4D7C-BC30-0D072C6B2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9BA0C4-6567-459F-93BF-7D480B184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56288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lege student in a hoodie and jean jacket smiles broadly at something across the classroom.">
            <a:extLst>
              <a:ext uri="{FF2B5EF4-FFF2-40B4-BE49-F238E27FC236}">
                <a16:creationId xmlns:a16="http://schemas.microsoft.com/office/drawing/2014/main" id="{D3FBABBA-EFFB-8723-4DFB-B88365F2D5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3"/>
            <a:ext cx="12192000" cy="6851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634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op Nav">
            <a:extLst>
              <a:ext uri="{FF2B5EF4-FFF2-40B4-BE49-F238E27FC236}">
                <a16:creationId xmlns:a16="http://schemas.microsoft.com/office/drawing/2014/main" id="{E4D20FAE-37C6-C749-A4C0-1C7EB7AFC4CD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C79D01-1491-1A46-B0B6-F2FEBC1BAC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B404AE-4E2C-6049-95E3-193B665C26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DA8190D2-E978-6643-BCB2-60CDE40B8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5B59F53A-E8CF-1C40-B445-91F374C88B6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9255ED6-FF99-7C4C-872F-AE8527729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A788A84-57E8-A34B-9A7A-191EA5DB55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B745550E-7BE1-494D-B44D-4932A01F33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959AF58F-8047-4A4F-B1B7-E6B18CF6AF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446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GHT BLUE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DB41E570-CA75-A746-B954-43B4FA2F75C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D6D3B9-5F57-4D46-94D5-27811194DC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9EF590-E588-8B41-AF56-718C495BBF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8B0874C-8B01-C74F-A1E1-E491D257E0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FC8C3A12-05AB-384D-B38A-AA60F17D987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895255C-5C21-B44A-9272-4243F8BCC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19F8877B-D18D-CF4F-A4B3-5626E1DDC4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24804DEE-1D02-2343-BFAA-2C9772B155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21" name="Call out Box">
            <a:extLst>
              <a:ext uri="{FF2B5EF4-FFF2-40B4-BE49-F238E27FC236}">
                <a16:creationId xmlns:a16="http://schemas.microsoft.com/office/drawing/2014/main" id="{B084D13F-DF47-7449-946E-30E399B43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874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24543A-2943-E144-B0C9-4FF147982F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A8E5E85-12FB-CF4F-8F55-864987A9A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841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GRAY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op Nav">
            <a:extLst>
              <a:ext uri="{FF2B5EF4-FFF2-40B4-BE49-F238E27FC236}">
                <a16:creationId xmlns:a16="http://schemas.microsoft.com/office/drawing/2014/main" id="{FC231581-4C30-CC44-97C7-AF37930886B5}"/>
              </a:ext>
            </a:extLst>
          </p:cNvPr>
          <p:cNvSpPr/>
          <p:nvPr userDrawn="1"/>
        </p:nvSpPr>
        <p:spPr>
          <a:xfrm>
            <a:off x="8105548" y="728663"/>
            <a:ext cx="4086452" cy="406829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D441DD-A5DD-674E-B805-796E0DCE87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6AF6692-F0B1-984D-AAE3-766630556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77BBF566-40CB-864A-B2E3-96B94E6B17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AECED608-F065-4D58-B7C8-0C1C936EBB3A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371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RED on CARB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op Nav">
            <a:extLst>
              <a:ext uri="{FF2B5EF4-FFF2-40B4-BE49-F238E27FC236}">
                <a16:creationId xmlns:a16="http://schemas.microsoft.com/office/drawing/2014/main" id="{5632E63E-8B1B-134B-9EA1-CD9ACBB6716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077483-4A49-AA4B-8B2E-9115C1ECC2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B93D016-9E70-8F45-AA00-97F5080F2D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663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45B405-5520-D342-BFF1-B356801142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8" name="Chapter Title">
            <a:extLst>
              <a:ext uri="{FF2B5EF4-FFF2-40B4-BE49-F238E27FC236}">
                <a16:creationId xmlns:a16="http://schemas.microsoft.com/office/drawing/2014/main" id="{84EF5F22-40A4-F34C-9AAE-3BE16DC4D8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0" name="Pg">
            <a:extLst>
              <a:ext uri="{FF2B5EF4-FFF2-40B4-BE49-F238E27FC236}">
                <a16:creationId xmlns:a16="http://schemas.microsoft.com/office/drawing/2014/main" id="{9E56A7A9-2EA7-8342-A088-17D4FCB6BD7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280C8E3-777D-544D-80D5-B7791BC58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17A9CB7-967C-C743-9745-5972400AEAA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86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BLUE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17A81-5A2C-1C46-B732-6D8F752FE7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C868D27C-4A66-3D40-B6D9-DA3C3E77B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6307E64D-ABD6-964C-A9ED-0F2BC5F5DFC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74E7FBC-DBF4-A843-BCC8-3AABD2752B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32ECF-C481-0042-9C4B-69AC0151F6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313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VIOLE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24E95-DAF4-C047-A8A8-63805777A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9A2B021-614E-CC4D-9416-F375CF1D86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918D5D-8AA4-3844-A0DB-F33D1F9E638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558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GRAY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9A50EBF1-7D5E-3747-8077-326AF31A95C4}"/>
              </a:ext>
            </a:extLst>
          </p:cNvPr>
          <p:cNvSpPr/>
          <p:nvPr userDrawn="1"/>
        </p:nvSpPr>
        <p:spPr>
          <a:xfrm>
            <a:off x="8112124" y="2744788"/>
            <a:ext cx="4079875" cy="411321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A26EE-2250-A34C-87BB-A0544E465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24A7980-45D8-784D-8E4F-0D0053671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88F2E5B-FAE3-7C4A-9B56-8232512481C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693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F5C9CE-D32E-5541-B85A-FA6797185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9ECAC6B-55DF-3941-B806-4599F63175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65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3 children sit cross-legged on a library's floor as a book is read to them. Their faces show they are engaged with each other and the story.&#10;">
            <a:extLst>
              <a:ext uri="{FF2B5EF4-FFF2-40B4-BE49-F238E27FC236}">
                <a16:creationId xmlns:a16="http://schemas.microsoft.com/office/drawing/2014/main" id="{E7890813-9A2C-C445-8885-75DF0271E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2"/>
            <a:ext cx="12192000" cy="685173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975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93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F53538-1E06-AD4F-B660-530EE363B8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90803EF-B185-1A4B-AEB0-EB63A68BF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377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F03ADE6-71A7-C548-9F6E-82FDBBD6C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4">
                    <a:lumMod val="25000"/>
                  </a:schemeClr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724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BEFBCB-AB08-7140-8567-4FD4D04CAD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C06EC2B-3880-F14F-AE7E-34F53ED22B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2027" y="1736725"/>
            <a:ext cx="3807947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999974" y="1749425"/>
            <a:ext cx="419202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581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FB85C7-7209-144C-8D24-339DFB0EC3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AEF899C-3DCF-8C49-9396-92C59D4A4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757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F642D6-3553-324F-921E-A1CD808FEC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CC77AEF-848E-1B4D-806C-A42A97518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FE6FF244-ECCD-FB4B-888A-4E5725DEDC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EE8CE71D-FD18-3C4F-A0F0-3D4D2F934A3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856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E37CA6-007B-07DA-14EA-257D66F241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Pg">
            <a:extLst>
              <a:ext uri="{FF2B5EF4-FFF2-40B4-BE49-F238E27FC236}">
                <a16:creationId xmlns:a16="http://schemas.microsoft.com/office/drawing/2014/main" id="{AEE4B3C3-6D78-A2BC-C1D1-633EC0B75B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EF04848-82E9-8D9E-EDA9-0D1BEFB2B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F46D2F08-BFA1-323D-8041-A4B3D061EF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nibh euism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Tincidunt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erat volutpa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nonummy nibh euismod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5FC09504-150C-61B2-5FFF-68F698B29B2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186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WHITE on RED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4B6D6C-C29B-A548-A31E-1599E90232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B65A249-F039-1443-8CC7-E8D46EA69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864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79875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81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RED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0ACFF1-F760-9646-978E-A45F7A2F22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07E239-B479-4B49-A66C-67B5E5D8E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9036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6576" y="1749425"/>
            <a:ext cx="40864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42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BLUE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47323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039C16-092F-A740-B960-ADDCD3D911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E21EE8B-6895-1B4A-9E48-4992928A95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1025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248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 the middle of his classroom, an elementary school teacher leans down to point at a student's paper. The boy holds a red pencil and smiles at his work.">
            <a:extLst>
              <a:ext uri="{FF2B5EF4-FFF2-40B4-BE49-F238E27FC236}">
                <a16:creationId xmlns:a16="http://schemas.microsoft.com/office/drawing/2014/main" id="{E41C6DCE-1CEF-5CFA-D3FF-5A71CA239D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471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LIGHT VIOLET on VIOLET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3860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E0767D-8A25-6C4A-8364-3B7A3F82FA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463D1A8-1111-114B-9890-0CE0E14B7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386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411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150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96C25C-4E0B-8F45-A598-DEBA7C70A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46516CC-87F2-EF46-9DE4-E73DBE2F3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005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089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LIGHT VIOLET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B3ECB7-D9C5-7546-A06E-9CF6F67D23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20D7435D-F882-234A-BBC8-20C90114E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95F659-D768-DA4C-A100-D623125B2D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154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C6DC658-BECF-B54E-AC16-9CF646F90F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CBAEEB7-4D07-4E47-9AD6-1302A0606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54C5140-16E5-5B49-8707-20A9139FD7A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488891"/>
            <a:ext cx="7081838" cy="3348347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11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Bulle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3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AEA48F-3B08-6D49-AAE9-9E6A4A5E47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1E73F80A-1813-DA4F-8DE2-64EB7F213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A36B83B-6BD2-D144-A9FF-1152262C28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7"/>
            <a:ext cx="7081838" cy="3328692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7156F9C9-D4B2-4542-B1D5-6C51BC91E5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054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D75399-CE4F-B348-BAB4-FC82DF0607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5F10BB2-BD13-C546-AA6B-50B0925DB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5"/>
            <a:ext cx="7081838" cy="332869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37111FFF-42FA-CE45-BFD6-0F5263B787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99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68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 and LIGHT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137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irl with purple glasses purses her lips in concentration as she writes on a whiteboard with a large, black marker. Her classmate stands beside her.&#10;">
            <a:extLst>
              <a:ext uri="{FF2B5EF4-FFF2-40B4-BE49-F238E27FC236}">
                <a16:creationId xmlns:a16="http://schemas.microsoft.com/office/drawing/2014/main" id="{92362EEF-3BD7-9942-9F61-594A9380A7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3100"/>
            <a:ext cx="12192000" cy="68911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252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No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068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106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776914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6840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6619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0D2407-3AEE-1846-8778-AE4EE683A8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33" name="Chapter Title">
            <a:extLst>
              <a:ext uri="{FF2B5EF4-FFF2-40B4-BE49-F238E27FC236}">
                <a16:creationId xmlns:a16="http://schemas.microsoft.com/office/drawing/2014/main" id="{7D24EF4D-8CFF-2241-8291-933EFE6292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8" name="Pg">
            <a:extLst>
              <a:ext uri="{FF2B5EF4-FFF2-40B4-BE49-F238E27FC236}">
                <a16:creationId xmlns:a16="http://schemas.microsoft.com/office/drawing/2014/main" id="{2D9A1D09-DB20-6D4D-83FD-330BCF62809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E40A5D0-FCE3-9442-99D4-4FFF20BCB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BAD73B57-8C4A-D743-AACF-484F43CC0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2B469334-6E72-5D40-AA8E-B737B44651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42B229DB-D4B9-544F-8266-334234356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F469656D-C96E-9A47-B8C1-D64C8FCF77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8383D3C-9789-A842-828F-3B5C13382A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DFE1817B-BA1F-C949-8EA0-6C10052596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FA4866C5-96CB-A844-A442-C93A18B11A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7BA46A7F-694F-8447-AAD3-ED50BF4275A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A2E9B9FF-BCCB-2247-9494-04E868F5AF0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FFA14467-DA2F-1347-A181-87C0FDFC047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CD36F8F1-96E3-E648-926C-EFEE29F6CFA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B161DB36-BA0A-6E48-A4BC-33D1C6F0B3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4F8FF71C-BC5B-B24A-944F-6C7037308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8389548D-A6FA-B449-8592-28D45618BBA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BBFD7C98-2BE7-7E44-BCED-09D82235061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40467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Column Cont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33956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23BF18-190B-0B45-86C7-8E7FD8D5BA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4" name="Chapter Title">
            <a:extLst>
              <a:ext uri="{FF2B5EF4-FFF2-40B4-BE49-F238E27FC236}">
                <a16:creationId xmlns:a16="http://schemas.microsoft.com/office/drawing/2014/main" id="{4C3A16F4-5E80-954F-9F5D-C17AAF09B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8B34E99-AE30-4C49-ABBE-F3D759A45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3" name="01">
            <a:extLst>
              <a:ext uri="{FF2B5EF4-FFF2-40B4-BE49-F238E27FC236}">
                <a16:creationId xmlns:a16="http://schemas.microsoft.com/office/drawing/2014/main" id="{656B9FAF-84C0-7E43-8B08-53730DCF7E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79440" y="1946465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9" name="Caption 1">
            <a:extLst>
              <a:ext uri="{FF2B5EF4-FFF2-40B4-BE49-F238E27FC236}">
                <a16:creationId xmlns:a16="http://schemas.microsoft.com/office/drawing/2014/main" id="{9CF9316A-A272-CB44-96B8-3E066822DFC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36FF7C71-04B0-1B44-BAC9-283FE6509B0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4532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D95B1A93-7377-6B4F-AB4C-85A0ADE1456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16113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4" name="02">
            <a:extLst>
              <a:ext uri="{FF2B5EF4-FFF2-40B4-BE49-F238E27FC236}">
                <a16:creationId xmlns:a16="http://schemas.microsoft.com/office/drawing/2014/main" id="{42B5B42B-7BA8-8749-A68B-767FDE1DBE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6882" y="1946703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61" name="Caption 2">
            <a:extLst>
              <a:ext uri="{FF2B5EF4-FFF2-40B4-BE49-F238E27FC236}">
                <a16:creationId xmlns:a16="http://schemas.microsoft.com/office/drawing/2014/main" id="{AB11E701-A589-1142-AAC4-7F98249E39B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73065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C7180CB-D6CC-884D-A1D6-4238C52B1D1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07143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1" name="Column 2">
            <a:extLst>
              <a:ext uri="{FF2B5EF4-FFF2-40B4-BE49-F238E27FC236}">
                <a16:creationId xmlns:a16="http://schemas.microsoft.com/office/drawing/2014/main" id="{DED1FE80-97ED-A44A-AAC7-23445FA9373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538724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5" name="03">
            <a:extLst>
              <a:ext uri="{FF2B5EF4-FFF2-40B4-BE49-F238E27FC236}">
                <a16:creationId xmlns:a16="http://schemas.microsoft.com/office/drawing/2014/main" id="{8192EB0B-9651-B544-BDAC-EE091C49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356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2" name="Caption 3">
            <a:extLst>
              <a:ext uri="{FF2B5EF4-FFF2-40B4-BE49-F238E27FC236}">
                <a16:creationId xmlns:a16="http://schemas.microsoft.com/office/drawing/2014/main" id="{284AA87E-52EF-2045-830C-F4AAFF5F87A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2044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2" name="Subtitle 3">
            <a:extLst>
              <a:ext uri="{FF2B5EF4-FFF2-40B4-BE49-F238E27FC236}">
                <a16:creationId xmlns:a16="http://schemas.microsoft.com/office/drawing/2014/main" id="{94D3E8CD-91A0-F547-BA17-B7867B89A68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05088" y="4391924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3" name="Column 3">
            <a:extLst>
              <a:ext uri="{FF2B5EF4-FFF2-40B4-BE49-F238E27FC236}">
                <a16:creationId xmlns:a16="http://schemas.microsoft.com/office/drawing/2014/main" id="{39B3353B-2777-5447-89A8-8604255C06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36669" y="4960909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6" name="04">
            <a:extLst>
              <a:ext uri="{FF2B5EF4-FFF2-40B4-BE49-F238E27FC236}">
                <a16:creationId xmlns:a16="http://schemas.microsoft.com/office/drawing/2014/main" id="{6CFC2436-7424-CA43-969D-9AB5100DA3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82202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3" name="Caption 4">
            <a:extLst>
              <a:ext uri="{FF2B5EF4-FFF2-40B4-BE49-F238E27FC236}">
                <a16:creationId xmlns:a16="http://schemas.microsoft.com/office/drawing/2014/main" id="{C758B12F-C44F-274A-A913-BCB1409A8DD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5774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Subtitle 4">
            <a:extLst>
              <a:ext uri="{FF2B5EF4-FFF2-40B4-BE49-F238E27FC236}">
                <a16:creationId xmlns:a16="http://schemas.microsoft.com/office/drawing/2014/main" id="{54CCEB4F-7779-5E4B-B18D-AA167974CF5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53963" y="4388597"/>
            <a:ext cx="2044858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8" name="Column 4">
            <a:extLst>
              <a:ext uri="{FF2B5EF4-FFF2-40B4-BE49-F238E27FC236}">
                <a16:creationId xmlns:a16="http://schemas.microsoft.com/office/drawing/2014/main" id="{DDA404CD-C496-1F4F-B260-2970B74DBAD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56413" y="4957582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Pg">
            <a:extLst>
              <a:ext uri="{FF2B5EF4-FFF2-40B4-BE49-F238E27FC236}">
                <a16:creationId xmlns:a16="http://schemas.microsoft.com/office/drawing/2014/main" id="{26155597-F0AF-764C-8816-67A652B266A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037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op Nav">
            <a:extLst>
              <a:ext uri="{FF2B5EF4-FFF2-40B4-BE49-F238E27FC236}">
                <a16:creationId xmlns:a16="http://schemas.microsoft.com/office/drawing/2014/main" id="{63C8FBF6-E07B-8749-9CE6-AF0D6291DEB0}"/>
              </a:ext>
            </a:extLst>
          </p:cNvPr>
          <p:cNvSpPr/>
          <p:nvPr userDrawn="1"/>
        </p:nvSpPr>
        <p:spPr>
          <a:xfrm>
            <a:off x="0" y="728664"/>
            <a:ext cx="12191999" cy="6129336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60BAF2-64CC-3A4E-B752-82EE147FA7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01EF1194-E7BA-8641-B7C3-306A8956F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5" name="Pg">
            <a:extLst>
              <a:ext uri="{FF2B5EF4-FFF2-40B4-BE49-F238E27FC236}">
                <a16:creationId xmlns:a16="http://schemas.microsoft.com/office/drawing/2014/main" id="{844B4F85-BEB9-7D42-92C7-7EC215876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BEE164E9-B94E-9149-9694-542238654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95B3BA13-C080-9848-9EE1-B9E9CA19F9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AF070C41-6C94-3A4A-978A-F440F161765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03D79C4C-8F32-6B4B-9FFB-9C9CFDBBDF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CA6ABE95-681E-C34A-B8B6-569502D902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3600F69-272F-C24D-B914-C33E8706485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88C5C30B-1103-594F-A8AA-BF1A6908C9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E3A9735A-C485-864B-B59D-5F45DEADA8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373489FE-C2DA-EF46-949E-CA23CB51A54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4FF6A20C-BEDE-1547-803D-D2BD830DE1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ADC59BD8-C0C2-684A-8085-EBDE4B767D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7C02D760-3953-CF49-A639-E32179CD656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F4EA188A-7D90-7B4B-A837-4262F19D75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2EFF1D36-CE17-1949-929C-138DF56058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A0B65ACF-BEB4-5149-816B-A56877ED8C6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D17CA303-7361-2D47-BB94-C5EFD44B71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28794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5B9C971-A59C-E24F-9F13-F9E4BED677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Title Line 1">
            <a:extLst>
              <a:ext uri="{FF2B5EF4-FFF2-40B4-BE49-F238E27FC236}">
                <a16:creationId xmlns:a16="http://schemas.microsoft.com/office/drawing/2014/main" id="{460B94BE-2F57-214D-AA8B-96BF52A1AB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85924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1091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6" name="Title Line 2">
            <a:extLst>
              <a:ext uri="{FF2B5EF4-FFF2-40B4-BE49-F238E27FC236}">
                <a16:creationId xmlns:a16="http://schemas.microsoft.com/office/drawing/2014/main" id="{E31E5F7E-95A4-D243-9357-C2B9239A652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49850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36106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3">
            <a:extLst>
              <a:ext uri="{FF2B5EF4-FFF2-40B4-BE49-F238E27FC236}">
                <a16:creationId xmlns:a16="http://schemas.microsoft.com/office/drawing/2014/main" id="{CEBEEFA7-BA38-3640-8D05-BA35D9C9FA5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13775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01121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383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3CD589-820C-E34C-BB24-CFC41AFBF4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922674B1-49AA-9341-8C46-794E759907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BD0B7D5-0192-F646-9D3E-35CC8C2AFEB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3A6DBF-0DEF-DB4B-A0B6-951847384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Title line 1">
            <a:extLst>
              <a:ext uri="{FF2B5EF4-FFF2-40B4-BE49-F238E27FC236}">
                <a16:creationId xmlns:a16="http://schemas.microsoft.com/office/drawing/2014/main" id="{6E0352A1-1A9E-4B4D-AC82-71F39E86DC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26892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059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2">
            <a:extLst>
              <a:ext uri="{FF2B5EF4-FFF2-40B4-BE49-F238E27FC236}">
                <a16:creationId xmlns:a16="http://schemas.microsoft.com/office/drawing/2014/main" id="{16F4E1AB-6264-DF41-8025-CF302045B0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75168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142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8" name="Title line 3">
            <a:extLst>
              <a:ext uri="{FF2B5EF4-FFF2-40B4-BE49-F238E27FC236}">
                <a16:creationId xmlns:a16="http://schemas.microsoft.com/office/drawing/2014/main" id="{4005FD16-CA36-F449-BFD1-723D089159F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23443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0789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21" name="Title line 4">
            <a:extLst>
              <a:ext uri="{FF2B5EF4-FFF2-40B4-BE49-F238E27FC236}">
                <a16:creationId xmlns:a16="http://schemas.microsoft.com/office/drawing/2014/main" id="{85D83742-7B64-2842-9FD7-C3DB4A118D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271718" y="1998724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7" name="Column 4">
            <a:extLst>
              <a:ext uri="{FF2B5EF4-FFF2-40B4-BE49-F238E27FC236}">
                <a16:creationId xmlns:a16="http://schemas.microsoft.com/office/drawing/2014/main" id="{EB2FCF4E-2315-A74B-9A73-3DEC8F3B2C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015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113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200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80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VIOLE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college students holding their notebooks share a laugh outside a school building.">
            <a:extLst>
              <a:ext uri="{FF2B5EF4-FFF2-40B4-BE49-F238E27FC236}">
                <a16:creationId xmlns:a16="http://schemas.microsoft.com/office/drawing/2014/main" id="{ED6FB341-F7F5-9842-DF4D-6D3D22DF8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630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8818EE-D37D-50E7-F166-FDA5EEEF49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6B1683-BE6C-994F-8C71-4655A6D7B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28FF114-93DC-FC49-9934-51730AECAC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B53FBC86-B154-F249-A0EA-A3F4998B886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B2093CD-2406-1349-966B-57058BD81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473606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59743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46382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6833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051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C4C9A5-0868-2701-BC50-B6336F7A9B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4C2075-62BB-E24C-8076-CA96EF9E70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B23EC58-BCB7-634A-BB1D-B02CF96AC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8B7895A-CD17-BE4E-8275-3B988852FF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0D918B0F-8556-604B-BAA8-A6C7C9B54BD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71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603EE6-48B1-A9DD-3E8C-9F040098CC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F60865-49F2-1743-ACC3-2007E090A7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937ACD68-09C5-D248-B40F-4B1840FDA9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30514C7-0A12-D14C-9687-4F3B4194A5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E60BAC26-48D6-E248-B41C-2CCDFE98648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421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946E26-8BE7-2D48-86AC-6974E1F63A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13CBDD01-29C4-1745-98AD-13788A146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A98EC6B-7BB0-C948-B167-15145EFB6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E366E92-31CB-554F-81AB-17D313A7A12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tat 1">
            <a:extLst>
              <a:ext uri="{FF2B5EF4-FFF2-40B4-BE49-F238E27FC236}">
                <a16:creationId xmlns:a16="http://schemas.microsoft.com/office/drawing/2014/main" id="{C9E00311-1B4A-3A45-B2E1-0DEC2AF42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3" name="Stat 1 Caption">
            <a:extLst>
              <a:ext uri="{FF2B5EF4-FFF2-40B4-BE49-F238E27FC236}">
                <a16:creationId xmlns:a16="http://schemas.microsoft.com/office/drawing/2014/main" id="{38EEFF29-C9F6-F448-9DE3-B7BED4EA28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4" name="Stat 1 Copy">
            <a:extLst>
              <a:ext uri="{FF2B5EF4-FFF2-40B4-BE49-F238E27FC236}">
                <a16:creationId xmlns:a16="http://schemas.microsoft.com/office/drawing/2014/main" id="{B83545D4-1FE8-DC43-9A81-6F25043587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5" name="Stat 2">
            <a:extLst>
              <a:ext uri="{FF2B5EF4-FFF2-40B4-BE49-F238E27FC236}">
                <a16:creationId xmlns:a16="http://schemas.microsoft.com/office/drawing/2014/main" id="{4ABC467F-D107-4747-9586-1125DD08C1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6" name="Stat 2 Caption">
            <a:extLst>
              <a:ext uri="{FF2B5EF4-FFF2-40B4-BE49-F238E27FC236}">
                <a16:creationId xmlns:a16="http://schemas.microsoft.com/office/drawing/2014/main" id="{8BD7BB4D-CE28-1E4B-9665-50E32471A5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7" name="Stat 2 Copy">
            <a:extLst>
              <a:ext uri="{FF2B5EF4-FFF2-40B4-BE49-F238E27FC236}">
                <a16:creationId xmlns:a16="http://schemas.microsoft.com/office/drawing/2014/main" id="{EB835A56-B62C-D14B-903D-610071ADC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0116EA0E-2BFB-CB43-BCB2-E6275846FF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8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4452E8-D98B-7D49-89F4-1988EA1CF4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EB64CB2E-C92D-124D-B974-0B1896DAF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F928CD4C-6268-8747-985F-C59CF046D0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2B551DAC-27EA-C24C-B386-EC1AF8D644A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Stat 1">
            <a:extLst>
              <a:ext uri="{FF2B5EF4-FFF2-40B4-BE49-F238E27FC236}">
                <a16:creationId xmlns:a16="http://schemas.microsoft.com/office/drawing/2014/main" id="{F98DED31-4635-444D-919C-2B2B0E840F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23" name="Stat 1 Caption">
            <a:extLst>
              <a:ext uri="{FF2B5EF4-FFF2-40B4-BE49-F238E27FC236}">
                <a16:creationId xmlns:a16="http://schemas.microsoft.com/office/drawing/2014/main" id="{331C2C7A-A19F-4D41-AF05-994255D0A1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24" name="Stat 1 Copy">
            <a:extLst>
              <a:ext uri="{FF2B5EF4-FFF2-40B4-BE49-F238E27FC236}">
                <a16:creationId xmlns:a16="http://schemas.microsoft.com/office/drawing/2014/main" id="{085B1092-89BA-6141-A8AF-C417ED755A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5" name="Stat 2">
            <a:extLst>
              <a:ext uri="{FF2B5EF4-FFF2-40B4-BE49-F238E27FC236}">
                <a16:creationId xmlns:a16="http://schemas.microsoft.com/office/drawing/2014/main" id="{3F2FC970-AFDD-3442-9C3D-1624B73CCD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6" name="Stat 2 Caption">
            <a:extLst>
              <a:ext uri="{FF2B5EF4-FFF2-40B4-BE49-F238E27FC236}">
                <a16:creationId xmlns:a16="http://schemas.microsoft.com/office/drawing/2014/main" id="{2364D5FE-A84F-B94C-A9A4-9473F66729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7" name="Stat 2 Copy">
            <a:extLst>
              <a:ext uri="{FF2B5EF4-FFF2-40B4-BE49-F238E27FC236}">
                <a16:creationId xmlns:a16="http://schemas.microsoft.com/office/drawing/2014/main" id="{C7FFAD34-E2B5-C749-BB8B-450A44FC17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D5A19222-FB40-1547-B796-7486CB30C6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4587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CF8A6E-8B6C-6747-84E2-7847C60A12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7F34424B-8820-7344-948C-E6A37BDAAA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B342B07-82AB-0B4B-B28F-D84666772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DD162E7-2D04-F14B-8AE4-67BBDF2FB6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Stat 1">
            <a:extLst>
              <a:ext uri="{FF2B5EF4-FFF2-40B4-BE49-F238E27FC236}">
                <a16:creationId xmlns:a16="http://schemas.microsoft.com/office/drawing/2014/main" id="{8719B257-7CF2-6F44-B644-631E6E5FD3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8" name="Stat 1 Caption">
            <a:extLst>
              <a:ext uri="{FF2B5EF4-FFF2-40B4-BE49-F238E27FC236}">
                <a16:creationId xmlns:a16="http://schemas.microsoft.com/office/drawing/2014/main" id="{57760C02-0E47-7F4E-A806-343D235853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9" name="Stat 1 Copy">
            <a:extLst>
              <a:ext uri="{FF2B5EF4-FFF2-40B4-BE49-F238E27FC236}">
                <a16:creationId xmlns:a16="http://schemas.microsoft.com/office/drawing/2014/main" id="{EBA0D26B-DB92-4246-9287-4BA2780352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Stat 2">
            <a:extLst>
              <a:ext uri="{FF2B5EF4-FFF2-40B4-BE49-F238E27FC236}">
                <a16:creationId xmlns:a16="http://schemas.microsoft.com/office/drawing/2014/main" id="{B255A082-26C5-3C48-A4C3-084ADA5B70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1" name="Stat 2 Caption">
            <a:extLst>
              <a:ext uri="{FF2B5EF4-FFF2-40B4-BE49-F238E27FC236}">
                <a16:creationId xmlns:a16="http://schemas.microsoft.com/office/drawing/2014/main" id="{A2FDE0EB-7516-884E-8EAB-A79C468518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2" name="Stat 2 Copy">
            <a:extLst>
              <a:ext uri="{FF2B5EF4-FFF2-40B4-BE49-F238E27FC236}">
                <a16:creationId xmlns:a16="http://schemas.microsoft.com/office/drawing/2014/main" id="{26318E31-81CB-5441-B056-B8D276EEF0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2F9A6A3-1428-324C-BC1A-CD4F519AE9C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6001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496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B4CB4-1406-7FBC-0880-CB7AB119A9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665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19D03A-D2EB-A738-BA8D-A429CF657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809" y="1366152"/>
            <a:ext cx="2133800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095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D88A5F-5A6A-CE48-F65D-46990A73FB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10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11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18.xml"/><Relationship Id="rId21" Type="http://schemas.openxmlformats.org/officeDocument/2006/relationships/image" Target="../media/image14.emf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theme" Target="../theme/theme11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image" Target="../media/image24.emf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36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3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14.emf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34" Type="http://schemas.openxmlformats.org/officeDocument/2006/relationships/theme" Target="../theme/theme6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slideLayout" Target="../slideLayouts/slideLayout82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slideLayout" Target="../slideLayouts/slideLayout81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35" Type="http://schemas.openxmlformats.org/officeDocument/2006/relationships/image" Target="../media/image14.emf"/><Relationship Id="rId8" Type="http://schemas.openxmlformats.org/officeDocument/2006/relationships/slideLayout" Target="../slideLayouts/slideLayout5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101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108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2479644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4019" r:id="rId6"/>
    <p:sldLayoutId id="2147483666" r:id="rId7"/>
    <p:sldLayoutId id="2147484018" r:id="rId8"/>
    <p:sldLayoutId id="2147483667" r:id="rId9"/>
    <p:sldLayoutId id="2147484017" r:id="rId10"/>
    <p:sldLayoutId id="2147483668" r:id="rId11"/>
    <p:sldLayoutId id="2147483669" r:id="rId12"/>
    <p:sldLayoutId id="2147484025" r:id="rId13"/>
    <p:sldLayoutId id="2147483670" r:id="rId14"/>
    <p:sldLayoutId id="2147483671" r:id="rId15"/>
    <p:sldLayoutId id="2147483672" r:id="rId16"/>
    <p:sldLayoutId id="2147484026" r:id="rId17"/>
    <p:sldLayoutId id="2147483673" r:id="rId18"/>
    <p:sldLayoutId id="2147484030" r:id="rId19"/>
    <p:sldLayoutId id="2147484031" r:id="rId20"/>
    <p:sldLayoutId id="2147484038" r:id="rId2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139730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4024" r:id="rId3"/>
    <p:sldLayoutId id="2147483875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3649380-23AE-854E-9BC8-848AEBBD08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6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95602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925" r:id="rId3"/>
    <p:sldLayoutId id="2147483883" r:id="rId4"/>
    <p:sldLayoutId id="2147483896" r:id="rId5"/>
    <p:sldLayoutId id="2147483898" r:id="rId6"/>
    <p:sldLayoutId id="2147483897" r:id="rId7"/>
    <p:sldLayoutId id="2147483880" r:id="rId8"/>
    <p:sldLayoutId id="2147483869" r:id="rId9"/>
    <p:sldLayoutId id="2147483885" r:id="rId10"/>
    <p:sldLayoutId id="2147483886" r:id="rId11"/>
    <p:sldLayoutId id="2147483888" r:id="rId12"/>
    <p:sldLayoutId id="2147483922" r:id="rId13"/>
    <p:sldLayoutId id="2147483923" r:id="rId14"/>
    <p:sldLayoutId id="2147483924" r:id="rId15"/>
    <p:sldLayoutId id="2147483887" r:id="rId16"/>
    <p:sldLayoutId id="2147483966" r:id="rId17"/>
    <p:sldLayoutId id="2147483967" r:id="rId18"/>
    <p:sldLayoutId id="2147483968" r:id="rId1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285" y="1825625"/>
            <a:ext cx="1131346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7B5927-1581-294F-B094-8C1C0027CF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68413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6" imgH="403" progId="TCLayout.ActiveDocument.1">
                  <p:embed/>
                </p:oleObj>
              </mc:Choice>
              <mc:Fallback>
                <p:oleObj name="think-cell Slide" r:id="rId17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7B5927-1581-294F-B094-8C1C0027C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06F0E88-EA22-6F44-8DFA-A231331C1A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5026A7-14AA-E140-B827-E87D9F8435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r>
              <a:rPr lang="en-US"/>
              <a:t>77</a:t>
            </a:r>
          </a:p>
        </p:txBody>
      </p:sp>
    </p:spTree>
    <p:extLst>
      <p:ext uri="{BB962C8B-B14F-4D97-AF65-F5344CB8AC3E}">
        <p14:creationId xmlns:p14="http://schemas.microsoft.com/office/powerpoint/2010/main" val="324144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791" r:id="rId2"/>
    <p:sldLayoutId id="2147483803" r:id="rId3"/>
    <p:sldLayoutId id="2147483784" r:id="rId4"/>
    <p:sldLayoutId id="2147483785" r:id="rId5"/>
    <p:sldLayoutId id="2147483793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403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Magazine Grotesque Bold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86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2162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3884" r:id="rId2"/>
    <p:sldLayoutId id="2147484034" r:id="rId3"/>
    <p:sldLayoutId id="2147484033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EFEEBE7-2301-DAE8-5FED-C2008DAEA8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212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5" r:id="rId2"/>
    <p:sldLayoutId id="2147483729" r:id="rId3"/>
    <p:sldLayoutId id="2147483724" r:id="rId4"/>
    <p:sldLayoutId id="2147483726" r:id="rId5"/>
    <p:sldLayoutId id="2147483728" r:id="rId6"/>
    <p:sldLayoutId id="2147483727" r:id="rId7"/>
    <p:sldLayoutId id="2147483730" r:id="rId8"/>
    <p:sldLayoutId id="2147483731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864E1BE-276C-2AE9-C09F-9B5AE473E8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222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851" r:id="rId3"/>
    <p:sldLayoutId id="2147483853" r:id="rId4"/>
    <p:sldLayoutId id="2147483854" r:id="rId5"/>
    <p:sldLayoutId id="2147483823" r:id="rId6"/>
    <p:sldLayoutId id="2147484007" r:id="rId7"/>
    <p:sldLayoutId id="2147484008" r:id="rId8"/>
    <p:sldLayoutId id="2147484009" r:id="rId9"/>
    <p:sldLayoutId id="2147484010" r:id="rId10"/>
    <p:sldLayoutId id="2147484040" r:id="rId11"/>
    <p:sldLayoutId id="2147484041" r:id="rId12"/>
    <p:sldLayoutId id="2147484042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A7FF24D-3083-F0BB-5689-D44065EF2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735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991" r:id="rId4"/>
    <p:sldLayoutId id="2147483992" r:id="rId5"/>
    <p:sldLayoutId id="2147483759" r:id="rId6"/>
    <p:sldLayoutId id="2147483760" r:id="rId7"/>
    <p:sldLayoutId id="2147483761" r:id="rId8"/>
    <p:sldLayoutId id="2147483762" r:id="rId9"/>
    <p:sldLayoutId id="2147483804" r:id="rId10"/>
    <p:sldLayoutId id="2147483807" r:id="rId11"/>
    <p:sldLayoutId id="2147483810" r:id="rId12"/>
    <p:sldLayoutId id="2147483813" r:id="rId13"/>
    <p:sldLayoutId id="2147483805" r:id="rId14"/>
    <p:sldLayoutId id="2147483808" r:id="rId15"/>
    <p:sldLayoutId id="2147483811" r:id="rId16"/>
    <p:sldLayoutId id="2147484028" r:id="rId17"/>
    <p:sldLayoutId id="2147483806" r:id="rId18"/>
    <p:sldLayoutId id="2147483809" r:id="rId19"/>
    <p:sldLayoutId id="2147483812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4027" r:id="rId26"/>
    <p:sldLayoutId id="2147483822" r:id="rId27"/>
    <p:sldLayoutId id="2147484006" r:id="rId28"/>
    <p:sldLayoutId id="2147483994" r:id="rId29"/>
    <p:sldLayoutId id="2147483995" r:id="rId30"/>
    <p:sldLayoutId id="2147483996" r:id="rId31"/>
    <p:sldLayoutId id="2147484003" r:id="rId32"/>
    <p:sldLayoutId id="2147484039" r:id="rId3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5D7CD0AD-3FBA-9E80-E8BE-87BF97A9B0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073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4029" r:id="rId2"/>
    <p:sldLayoutId id="2147483764" r:id="rId3"/>
    <p:sldLayoutId id="2147483993" r:id="rId4"/>
    <p:sldLayoutId id="2147483765" r:id="rId5"/>
    <p:sldLayoutId id="2147483766" r:id="rId6"/>
    <p:sldLayoutId id="2147483767" r:id="rId7"/>
    <p:sldLayoutId id="2147483792" r:id="rId8"/>
    <p:sldLayoutId id="2147484035" r:id="rId9"/>
    <p:sldLayoutId id="2147483794" r:id="rId10"/>
    <p:sldLayoutId id="2147483997" r:id="rId11"/>
    <p:sldLayoutId id="2147483998" r:id="rId12"/>
    <p:sldLayoutId id="2147483999" r:id="rId13"/>
    <p:sldLayoutId id="2147483983" r:id="rId1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487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315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4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51.png"/><Relationship Id="rId5" Type="http://schemas.openxmlformats.org/officeDocument/2006/relationships/image" Target="../media/image50.emf"/><Relationship Id="rId4" Type="http://schemas.openxmlformats.org/officeDocument/2006/relationships/image" Target="../media/image4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udysharpen.com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hyperlink" Target="https://apps.apple.com/us/app/sharpen-college-exam-prep/id1595642363" TargetMode="External"/><Relationship Id="rId7" Type="http://schemas.openxmlformats.org/officeDocument/2006/relationships/image" Target="../media/image55.png"/><Relationship Id="rId2" Type="http://schemas.openxmlformats.org/officeDocument/2006/relationships/hyperlink" Target="https://play.google.com/store/apps/details?id=com.mheducation.redi&amp;hl=en_US" TargetMode="Externa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hyperlink" Target="http://www.studysharpen.com" TargetMode="External"/><Relationship Id="rId9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heducation.com/highered/support/student/connect.html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3.xml"/><Relationship Id="rId6" Type="http://schemas.openxmlformats.org/officeDocument/2006/relationships/image" Target="../media/image58.png"/><Relationship Id="rId5" Type="http://schemas.openxmlformats.org/officeDocument/2006/relationships/image" Target="../media/image30.png"/><Relationship Id="rId4" Type="http://schemas.openxmlformats.org/officeDocument/2006/relationships/image" Target="../media/image5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3.png"/><Relationship Id="rId4" Type="http://schemas.openxmlformats.org/officeDocument/2006/relationships/image" Target="../media/image62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6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6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6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60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6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60.png"/><Relationship Id="rId5" Type="http://schemas.openxmlformats.org/officeDocument/2006/relationships/image" Target="../media/image69.png"/><Relationship Id="rId4" Type="http://schemas.openxmlformats.org/officeDocument/2006/relationships/image" Target="../media/image6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13" Type="http://schemas.openxmlformats.org/officeDocument/2006/relationships/image" Target="../media/image30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40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34.sv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0" Type="http://schemas.openxmlformats.org/officeDocument/2006/relationships/image" Target="../media/image38.svg"/><Relationship Id="rId4" Type="http://schemas.openxmlformats.org/officeDocument/2006/relationships/image" Target="../media/image32.svg"/><Relationship Id="rId9" Type="http://schemas.openxmlformats.org/officeDocument/2006/relationships/image" Target="../media/image3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CC9C857-E79A-F545-BAB3-908AA67D1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2983" y="1605014"/>
            <a:ext cx="4831300" cy="1420574"/>
          </a:xfrm>
        </p:spPr>
        <p:txBody>
          <a:bodyPr>
            <a:normAutofit/>
          </a:bodyPr>
          <a:lstStyle/>
          <a:p>
            <a:r>
              <a:rPr lang="en-US" dirty="0"/>
              <a:t>McGraw Hill Connect ®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5FD6EFB-269E-194A-A965-948F2D8D67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tudent Registration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AF26C10-15BC-1541-80F0-D47778F796A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08087" y="4122407"/>
            <a:ext cx="4887913" cy="723986"/>
          </a:xfrm>
        </p:spPr>
        <p:txBody>
          <a:bodyPr/>
          <a:lstStyle/>
          <a:p>
            <a:r>
              <a:rPr lang="en-US" dirty="0"/>
              <a:t>Canvas with Inclusive Access LTIA Deep Integration</a:t>
            </a:r>
          </a:p>
        </p:txBody>
      </p:sp>
    </p:spTree>
    <p:extLst>
      <p:ext uri="{BB962C8B-B14F-4D97-AF65-F5344CB8AC3E}">
        <p14:creationId xmlns:p14="http://schemas.microsoft.com/office/powerpoint/2010/main" val="14314224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813C9-3AD3-29F5-48C7-E65638387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9080" y="1718704"/>
            <a:ext cx="4831300" cy="1420574"/>
          </a:xfrm>
        </p:spPr>
        <p:txBody>
          <a:bodyPr/>
          <a:lstStyle/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CEB6F2-1D61-AD49-4BF3-123CE624DB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08087" y="3101973"/>
            <a:ext cx="4533631" cy="723986"/>
          </a:xfrm>
        </p:spPr>
        <p:txBody>
          <a:bodyPr/>
          <a:lstStyle/>
          <a:p>
            <a:r>
              <a:rPr lang="en-US"/>
              <a:t>What to Know on Your </a:t>
            </a:r>
            <a:br>
              <a:rPr lang="en-US"/>
            </a:br>
            <a:r>
              <a:rPr lang="en-US"/>
              <a:t>First Day of Cla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CF8DC1-294A-3B17-394F-77CB7480A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918B3A-34B7-765B-6FFF-954DC31DB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5977C7-63D2-A57C-FF70-D762B6C44A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251"/>
          <a:stretch/>
        </p:blipFill>
        <p:spPr>
          <a:xfrm>
            <a:off x="5671335" y="583701"/>
            <a:ext cx="6664502" cy="6274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0135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ECB67-2626-98B6-7B2E-FC76D302CC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A202517-75C5-6C46-BC82-F842B0B39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What is Sharpen?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C0A3F45-C847-CAC3-F71D-3D129B93EDB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is McGraw Hill's newest study tool: an exam prep app included in Connect! By using these platforms together, you can master your course material and ace your exams. 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has hundreds of bite-sized tools customized for your course to help you learn in just 5 minutes. The app's AI engine delivers personalized study tips based on your progress, so you can see what you've mastered and what you need to review.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ince Sharpen is made by McGraw Hill, you can trust its content: accurate and focused on the most important concepts. You can launch Sharpen with one click from Connect or the LMS or log into </a:t>
            </a:r>
            <a:r>
              <a:rPr lang="en-US" b="1" err="1">
                <a:latin typeface="Arial"/>
                <a:cs typeface="Arial"/>
              </a:rPr>
              <a:t>Sharpen's</a:t>
            </a:r>
            <a:r>
              <a:rPr lang="en-US" b="1">
                <a:latin typeface="Arial"/>
                <a:cs typeface="Arial"/>
              </a:rPr>
              <a:t> web or mobile apps.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06AE97EF-0C45-24CA-FE18-8ECC8ED539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F68DC74-3731-B670-7F27-B5FB241102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pic>
        <p:nvPicPr>
          <p:cNvPr id="7" name="Picture 6" descr="Laptop showing the McGraw Hill Connect platform and a mobile phone showing the Sharpen study app.">
            <a:extLst>
              <a:ext uri="{FF2B5EF4-FFF2-40B4-BE49-F238E27FC236}">
                <a16:creationId xmlns:a16="http://schemas.microsoft.com/office/drawing/2014/main" id="{25FAB81B-B0F0-B287-4225-8C00219481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0447" y="4972640"/>
            <a:ext cx="2546193" cy="1888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9245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D447DA-790C-DC08-B987-3996A92DD5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CF51B435-6E5D-6EBD-DD9B-4F902C1222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C464A10-43F9-3430-2972-CA8AE92783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4919D9B-5B7C-9214-E598-94D20ED89F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2200"/>
              <a:t>Sharpen is the ultimate college study app for exam prep</a:t>
            </a:r>
            <a:endParaRPr lang="en-US" sz="2200" b="0">
              <a:solidFill>
                <a:srgbClr val="000000"/>
              </a:solidFill>
            </a:endParaRPr>
          </a:p>
        </p:txBody>
      </p:sp>
      <p:pic>
        <p:nvPicPr>
          <p:cNvPr id="15" name="Picture 14" descr="Screenshots of Sharpen features on a mobile phone, left to right:&#10;Videos.&#10;Chapter summaries.&#10;Flashcards.&#10;Quiz bank for exam prep.&#10;The Improve section.">
            <a:extLst>
              <a:ext uri="{FF2B5EF4-FFF2-40B4-BE49-F238E27FC236}">
                <a16:creationId xmlns:a16="http://schemas.microsoft.com/office/drawing/2014/main" id="{4D7329B5-9022-32EB-171E-63A1E3CCA9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5854" y="1519947"/>
            <a:ext cx="11600292" cy="34389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2CA7E5D-8879-FB6D-FC14-543B8C66B393}"/>
              </a:ext>
            </a:extLst>
          </p:cNvPr>
          <p:cNvSpPr txBox="1"/>
          <p:nvPr/>
        </p:nvSpPr>
        <p:spPr>
          <a:xfrm>
            <a:off x="403621" y="5248436"/>
            <a:ext cx="11653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O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357D24-178B-42E5-AB3D-6FDD8A46F991}"/>
              </a:ext>
            </a:extLst>
          </p:cNvPr>
          <p:cNvSpPr txBox="1"/>
          <p:nvPr/>
        </p:nvSpPr>
        <p:spPr>
          <a:xfrm>
            <a:off x="2569458" y="5170976"/>
            <a:ext cx="18077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PT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MMARI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8A1D04-FFA7-A18E-39EB-83779F730771}"/>
              </a:ext>
            </a:extLst>
          </p:cNvPr>
          <p:cNvSpPr txBox="1"/>
          <p:nvPr/>
        </p:nvSpPr>
        <p:spPr>
          <a:xfrm>
            <a:off x="5067562" y="5294602"/>
            <a:ext cx="20057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ASHCARD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4B6544-82B2-43AD-ED31-6A2AB6AC827A}"/>
              </a:ext>
            </a:extLst>
          </p:cNvPr>
          <p:cNvSpPr txBox="1"/>
          <p:nvPr/>
        </p:nvSpPr>
        <p:spPr>
          <a:xfrm>
            <a:off x="7543610" y="5140714"/>
            <a:ext cx="20057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IZ BANK FOR EXAM PREP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63C3E1-5627-25CB-FD55-C9E58B6367C0}"/>
              </a:ext>
            </a:extLst>
          </p:cNvPr>
          <p:cNvSpPr txBox="1"/>
          <p:nvPr/>
        </p:nvSpPr>
        <p:spPr>
          <a:xfrm>
            <a:off x="10239677" y="5110764"/>
            <a:ext cx="14773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ROVE SECTION</a:t>
            </a:r>
          </a:p>
        </p:txBody>
      </p:sp>
    </p:spTree>
    <p:extLst>
      <p:ext uri="{BB962C8B-B14F-4D97-AF65-F5344CB8AC3E}">
        <p14:creationId xmlns:p14="http://schemas.microsoft.com/office/powerpoint/2010/main" val="6731786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FA2E2-6E98-FB93-D509-F1AA294120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A8EBE8FB-1025-7E4C-41DA-28BE7BBAF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00517CD-2ED7-68EF-1595-2AECB3384B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FA73ADC0-44B8-C9A8-1083-D46A818AAF7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383971" y="896257"/>
            <a:ext cx="7614557" cy="40011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wnload the Sharpen College Study App – Scan This Cod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​</a:t>
            </a:r>
          </a:p>
        </p:txBody>
      </p:sp>
      <p:pic>
        <p:nvPicPr>
          <p:cNvPr id="7" name="Google Shape;407;p82" descr="Sharpen logo.">
            <a:extLst>
              <a:ext uri="{FF2B5EF4-FFF2-40B4-BE49-F238E27FC236}">
                <a16:creationId xmlns:a16="http://schemas.microsoft.com/office/drawing/2014/main" id="{EE10A906-799B-8E13-E8B4-B8ECD06573B8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195975" y="1296154"/>
            <a:ext cx="3566160" cy="895006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Picture 19" descr="QR code to download Sharpen.">
            <a:extLst>
              <a:ext uri="{FF2B5EF4-FFF2-40B4-BE49-F238E27FC236}">
                <a16:creationId xmlns:a16="http://schemas.microsoft.com/office/drawing/2014/main" id="{31BD18CA-E462-26DA-7134-B0B2AD1197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95975" y="2042355"/>
            <a:ext cx="3642847" cy="3653776"/>
          </a:xfrm>
          <a:prstGeom prst="rect">
            <a:avLst/>
          </a:prstGeom>
        </p:spPr>
      </p:pic>
      <p:pic>
        <p:nvPicPr>
          <p:cNvPr id="10" name="Picture 10" descr="Apple App Store icon.">
            <a:extLst>
              <a:ext uri="{FF2B5EF4-FFF2-40B4-BE49-F238E27FC236}">
                <a16:creationId xmlns:a16="http://schemas.microsoft.com/office/drawing/2014/main" id="{2BD7A65A-CB13-3540-19A1-A6F893A6D8C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0" b="5482"/>
          <a:stretch/>
        </p:blipFill>
        <p:spPr bwMode="auto">
          <a:xfrm>
            <a:off x="3527861" y="5875918"/>
            <a:ext cx="2451194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2" descr="Google Play Store icon.">
            <a:extLst>
              <a:ext uri="{FF2B5EF4-FFF2-40B4-BE49-F238E27FC236}">
                <a16:creationId xmlns:a16="http://schemas.microsoft.com/office/drawing/2014/main" id="{C72D5321-6A39-DE58-DBE9-530C5E8E848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0" t="16958" r="10618" b="17565"/>
          <a:stretch/>
        </p:blipFill>
        <p:spPr bwMode="auto">
          <a:xfrm>
            <a:off x="6122230" y="5875918"/>
            <a:ext cx="2451195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93259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EC51BE-8D8C-5D3A-1A88-37C9291EE7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77E6315-7A9A-B783-CF4C-EDA0D5DD88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tips to make the most of Connect: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7B6105D-F1A2-29D1-4CA2-FB347CD25F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tay Organized </a:t>
            </a:r>
            <a:endParaRPr lang="en-US" b="1">
              <a:solidFill>
                <a:schemeClr val="tx1"/>
              </a:solidFill>
            </a:endParaRP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Digital Course Planner has all your upcoming Connect assignments in one place, and you can customize calendar alerts. </a:t>
            </a: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0">
              <a:spcAft>
                <a:spcPts val="600"/>
              </a:spcAft>
              <a:buNone/>
            </a:pP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Focus On What Matters</a:t>
            </a: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Use Reports to track your performance and understanding of key concepts.</a:t>
            </a:r>
          </a:p>
          <a:p>
            <a:pPr marL="572770" lvl="1" indent="-342900">
              <a:spcAft>
                <a:spcPts val="600"/>
              </a:spcAft>
            </a:pPr>
            <a:endParaRPr lang="en-US" sz="1800"/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Learn On-the-Go</a:t>
            </a: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Download the free </a:t>
            </a:r>
            <a:r>
              <a:rPr lang="en-US" sz="1800" err="1">
                <a:latin typeface="Arial"/>
                <a:cs typeface="Arial"/>
              </a:rPr>
              <a:t>ReadAnywhere</a:t>
            </a:r>
            <a:r>
              <a:rPr lang="en-US" sz="1800">
                <a:latin typeface="Arial"/>
                <a:cs typeface="Arial"/>
              </a:rPr>
              <a:t> app to take your eBook* and </a:t>
            </a:r>
            <a:r>
              <a:rPr lang="en-US" sz="1800" err="1">
                <a:latin typeface="Arial"/>
                <a:cs typeface="Arial"/>
              </a:rPr>
              <a:t>SmartBook</a:t>
            </a:r>
            <a:r>
              <a:rPr lang="en-US" sz="1800" baseline="30000">
                <a:latin typeface="Arial"/>
                <a:cs typeface="Arial"/>
              </a:rPr>
              <a:t>®</a:t>
            </a:r>
            <a:r>
              <a:rPr lang="en-US" sz="1800">
                <a:latin typeface="Arial"/>
                <a:cs typeface="Arial"/>
              </a:rPr>
              <a:t>* with you—online and offline, 24/7. </a:t>
            </a:r>
          </a:p>
          <a:p>
            <a:pPr lvl="1" indent="0">
              <a:spcAft>
                <a:spcPts val="600"/>
              </a:spcAft>
              <a:buNone/>
            </a:pPr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4950" indent="-234950"/>
            <a:r>
              <a:rPr lang="en-US" sz="1400">
                <a:latin typeface="Arial"/>
                <a:cs typeface="Arial"/>
              </a:rPr>
              <a:t>*</a:t>
            </a:r>
            <a:r>
              <a:rPr lang="en-US" sz="1400" i="1" err="1">
                <a:latin typeface="Arial"/>
                <a:cs typeface="Arial"/>
              </a:rPr>
              <a:t>ReadAnywhere</a:t>
            </a:r>
            <a:r>
              <a:rPr lang="en-US" sz="1400" i="1">
                <a:latin typeface="Arial"/>
                <a:cs typeface="Arial"/>
              </a:rPr>
              <a:t> supports newer eBooks and </a:t>
            </a:r>
            <a:r>
              <a:rPr lang="en-US" sz="1400" i="1" err="1">
                <a:latin typeface="Arial"/>
                <a:cs typeface="Arial"/>
              </a:rPr>
              <a:t>SmartBook</a:t>
            </a:r>
            <a:r>
              <a:rPr lang="en-US" sz="1400" i="1">
                <a:latin typeface="Arial"/>
                <a:cs typeface="Arial"/>
              </a:rPr>
              <a:t>. May not be available in your specific Connect course.</a:t>
            </a:r>
            <a:endParaRPr lang="en-US">
              <a:latin typeface="Arial"/>
              <a:cs typeface="Arial"/>
            </a:endParaRPr>
          </a:p>
          <a:p>
            <a:endParaRPr lang="en-US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8FD1BB5C-83F9-D82B-97A0-611541C62A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8BDDDD4-0CCE-5CC2-6BC3-51BFB1453D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78722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03D2C7-0C6B-79EB-491C-346307AE70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58B42C3-BC93-F8B8-DD07-9E5BF92828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some tips to ace your exams with Sharpen: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82B4A1-71EF-18ED-DCD8-78270D5BD1D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482496"/>
            <a:ext cx="10706330" cy="4374092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Exam Prep</a:t>
            </a:r>
            <a:endParaRPr lang="en-US" b="1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Spend 10 minutes on Quiz Bank to confirm what you know and check Improve for tips to master concepts you missed. </a:t>
            </a: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Weekly Review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Flip through Sharpen flashcards for 5 minutes to test yourself on chapters covered in class.   </a:t>
            </a:r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endParaRPr lang="en-US" sz="1800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Refresher Before Class</a:t>
            </a:r>
            <a:endParaRPr lang="en-US" b="1"/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r>
              <a:rPr lang="en-US" sz="1800">
                <a:latin typeface="Arial"/>
                <a:cs typeface="Arial"/>
              </a:rPr>
              <a:t>Spend 5 minutes on Sharpen summaries and videos to review key concepts.</a:t>
            </a:r>
            <a:endParaRPr lang="en-US" sz="1800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24/7 Access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Download the Sharpen mobile phone app for iOS or Android. On laptops or tablets, log into Sharpen at </a:t>
            </a:r>
            <a:r>
              <a:rPr lang="en-US" sz="1800">
                <a:latin typeface="Arial"/>
                <a:cs typeface="Arial"/>
                <a:hlinkClick r:id="rId3"/>
              </a:rPr>
              <a:t>www.studysharpen.com</a:t>
            </a:r>
            <a:r>
              <a:rPr lang="en-US" sz="1800">
                <a:latin typeface="Arial"/>
                <a:cs typeface="Arial"/>
              </a:rPr>
              <a:t> or through Connect or LMS launch points. </a:t>
            </a:r>
            <a:endParaRPr lang="en-US" sz="1800"/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endParaRPr lang="en-US" sz="1300">
              <a:latin typeface="Arial"/>
              <a:cs typeface="Arial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EFDE8D9A-7100-30DC-B8F3-B4A80AF571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2D7CDFD-6A1E-3B56-2F7E-1CF15406DC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31487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C175817-792A-094E-A220-22C149BB8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579" y="835665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Study on your Smartphone or Tablet!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C5671F-AF2D-46C1-984C-E962B4AE6DF3}"/>
              </a:ext>
            </a:extLst>
          </p:cNvPr>
          <p:cNvSpPr txBox="1">
            <a:spLocks noGrp="1"/>
          </p:cNvSpPr>
          <p:nvPr>
            <p:ph type="body" sz="quarter" idx="16"/>
          </p:nvPr>
        </p:nvSpPr>
        <p:spPr>
          <a:xfrm>
            <a:off x="487258" y="1362128"/>
            <a:ext cx="6570190" cy="269304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en-US" sz="1300" b="1" err="1">
                <a:latin typeface="Arial"/>
                <a:cs typeface="Arial"/>
              </a:rPr>
              <a:t>ReadAnywhere</a:t>
            </a:r>
            <a:r>
              <a:rPr lang="en-US" sz="1300" b="1" baseline="30000">
                <a:latin typeface="Arial"/>
                <a:cs typeface="Arial"/>
              </a:rPr>
              <a:t>®</a:t>
            </a:r>
            <a:r>
              <a:rPr lang="en-US" sz="1300" b="1">
                <a:latin typeface="Arial"/>
                <a:cs typeface="Arial"/>
              </a:rPr>
              <a:t> App</a:t>
            </a:r>
            <a:endParaRPr lang="en-US" sz="1300">
              <a:latin typeface="Arial"/>
              <a:cs typeface="Arial"/>
            </a:endParaRP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Download the free </a:t>
            </a:r>
            <a:r>
              <a:rPr lang="en-US" sz="1300" err="1">
                <a:latin typeface="Arial"/>
                <a:cs typeface="Arial"/>
              </a:rPr>
              <a:t>ReadAnywhere</a:t>
            </a:r>
            <a:r>
              <a:rPr lang="en-US" sz="1300">
                <a:latin typeface="Arial"/>
                <a:cs typeface="Arial"/>
              </a:rPr>
              <a:t> app to your Android or iOS smartphone or tablet and access your course eBook for offline study access anytime, anywhere. </a:t>
            </a: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More than </a:t>
            </a:r>
            <a:r>
              <a:rPr lang="en-US" sz="1300" u="sng">
                <a:latin typeface="Arial"/>
                <a:cs typeface="Arial"/>
              </a:rPr>
              <a:t>1 million students and instructors</a:t>
            </a:r>
            <a:r>
              <a:rPr lang="en-US" sz="1300">
                <a:latin typeface="Arial"/>
                <a:cs typeface="Arial"/>
              </a:rPr>
              <a:t> have downloaded the </a:t>
            </a:r>
            <a:r>
              <a:rPr lang="en-US" sz="1300" err="1">
                <a:latin typeface="Arial"/>
                <a:cs typeface="Arial"/>
              </a:rPr>
              <a:t>ReadAnywhere</a:t>
            </a:r>
            <a:r>
              <a:rPr lang="en-US" sz="1300">
                <a:latin typeface="Arial"/>
                <a:cs typeface="Arial"/>
              </a:rPr>
              <a:t> app, which has a 4.7 rating on the App Store.</a:t>
            </a:r>
          </a:p>
          <a:p>
            <a:endParaRPr lang="en-US" sz="1300"/>
          </a:p>
          <a:p>
            <a:r>
              <a:rPr lang="en-US" sz="1300" b="1">
                <a:latin typeface="Arial"/>
                <a:cs typeface="Arial"/>
              </a:rPr>
              <a:t>Connect Tablet App</a:t>
            </a:r>
            <a:endParaRPr lang="en-US" sz="1300">
              <a:latin typeface="Arial"/>
              <a:cs typeface="Arial"/>
            </a:endParaRP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Log into Connect on your tablet browser and then add it to your home screen to complete assignments. </a:t>
            </a:r>
            <a:r>
              <a:rPr lang="en-US" sz="1300" i="1">
                <a:latin typeface="Arial"/>
                <a:cs typeface="Arial"/>
              </a:rPr>
              <a:t>The Connect Tablet App is not recommended for smartphone use.</a:t>
            </a:r>
            <a:endParaRPr lang="en-US" sz="1300">
              <a:latin typeface="Arial"/>
              <a:cs typeface="Arial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E36E08D-B7A3-325F-533A-E8193A8CCC4F}"/>
              </a:ext>
            </a:extLst>
          </p:cNvPr>
          <p:cNvSpPr txBox="1">
            <a:spLocks/>
          </p:cNvSpPr>
          <p:nvPr/>
        </p:nvSpPr>
        <p:spPr>
          <a:xfrm>
            <a:off x="485444" y="4172456"/>
            <a:ext cx="6570190" cy="249299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00" b="1">
                <a:latin typeface="Arial"/>
                <a:cs typeface="Arial"/>
              </a:rPr>
              <a:t>Sharpen Exam Prep App</a:t>
            </a:r>
            <a:endParaRPr lang="en-US" sz="1300">
              <a:latin typeface="Arial"/>
              <a:cs typeface="Arial"/>
            </a:endParaRPr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Find the Sharpen launch point in Connect, GO, or your LMS. Click get started! </a:t>
            </a:r>
            <a:endParaRPr lang="en-US" sz="1300"/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Then download the Sharpen app to your </a:t>
            </a:r>
            <a:r>
              <a:rPr lang="en-US" sz="1300">
                <a:latin typeface="Arial"/>
                <a:cs typeface="Arial"/>
                <a:hlinkClick r:id="rId2"/>
              </a:rPr>
              <a:t>Android</a:t>
            </a:r>
            <a:r>
              <a:rPr lang="en-US" sz="1300">
                <a:latin typeface="Arial"/>
                <a:cs typeface="Arial"/>
              </a:rPr>
              <a:t> or </a:t>
            </a:r>
            <a:r>
              <a:rPr lang="en-US" sz="1300">
                <a:latin typeface="Arial"/>
                <a:cs typeface="Arial"/>
                <a:hlinkClick r:id="rId3"/>
              </a:rPr>
              <a:t>iOS</a:t>
            </a:r>
            <a:r>
              <a:rPr lang="en-US" sz="1300">
                <a:latin typeface="Arial"/>
                <a:cs typeface="Arial"/>
              </a:rPr>
              <a:t> smartphone to access your study content anytime, anywhere. </a:t>
            </a:r>
            <a:endParaRPr lang="en-US" sz="1300"/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On your tablet or laptop? Log into Sharpen web at </a:t>
            </a:r>
            <a:r>
              <a:rPr lang="en-US" sz="1300">
                <a:latin typeface="Arial"/>
                <a:cs typeface="Arial"/>
                <a:hlinkClick r:id="rId4"/>
              </a:rPr>
              <a:t>www.studysharpen.com</a:t>
            </a:r>
            <a:r>
              <a:rPr lang="en-US" sz="1300">
                <a:latin typeface="Arial"/>
                <a:cs typeface="Arial"/>
              </a:rPr>
              <a:t> to access your content. Always sign in with your school email address so your progress is up to date on any device.</a:t>
            </a:r>
            <a:endParaRPr lang="en-US" sz="1300">
              <a:solidFill>
                <a:srgbClr val="000000"/>
              </a:solidFill>
              <a:latin typeface="Arial"/>
              <a:cs typeface="Arial"/>
            </a:endParaRPr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Close to </a:t>
            </a:r>
            <a:r>
              <a:rPr lang="en-US" sz="1300" u="sng">
                <a:latin typeface="Arial"/>
                <a:cs typeface="Arial"/>
              </a:rPr>
              <a:t>1 million students</a:t>
            </a:r>
            <a:r>
              <a:rPr lang="en-US" sz="1300">
                <a:latin typeface="Arial"/>
                <a:cs typeface="Arial"/>
              </a:rPr>
              <a:t> have tried Sharpen, which has a 4.7 App Store rating.</a:t>
            </a:r>
            <a:endParaRPr lang="en-US" sz="1300"/>
          </a:p>
        </p:txBody>
      </p:sp>
      <p:pic>
        <p:nvPicPr>
          <p:cNvPr id="9" name="Picture 8" descr="Image of the ReadAnywhere App Logo.">
            <a:extLst>
              <a:ext uri="{FF2B5EF4-FFF2-40B4-BE49-F238E27FC236}">
                <a16:creationId xmlns:a16="http://schemas.microsoft.com/office/drawing/2014/main" id="{E9C0DE07-94EA-47D2-9677-F594AD5885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50331" y="1015067"/>
            <a:ext cx="2316113" cy="2412672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0142E43-DE2B-6632-4863-878684C53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Picture 4" descr="Image of the Sharpen logo.">
            <a:extLst>
              <a:ext uri="{FF2B5EF4-FFF2-40B4-BE49-F238E27FC236}">
                <a16:creationId xmlns:a16="http://schemas.microsoft.com/office/drawing/2014/main" id="{081C7F18-E127-826A-1D86-6108352F62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82769" y="3428697"/>
            <a:ext cx="2056966" cy="2112737"/>
          </a:xfrm>
          <a:prstGeom prst="roundRect">
            <a:avLst/>
          </a:prstGeom>
        </p:spPr>
      </p:pic>
      <p:pic>
        <p:nvPicPr>
          <p:cNvPr id="10" name="Picture 9" descr="Apple App Store icon.">
            <a:extLst>
              <a:ext uri="{FF2B5EF4-FFF2-40B4-BE49-F238E27FC236}">
                <a16:creationId xmlns:a16="http://schemas.microsoft.com/office/drawing/2014/main" id="{6103DF3C-37C4-72FB-C49B-56BA553F54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18783" y="5732826"/>
            <a:ext cx="1319080" cy="460496"/>
          </a:xfrm>
          <a:prstGeom prst="rect">
            <a:avLst/>
          </a:prstGeom>
        </p:spPr>
      </p:pic>
      <p:pic>
        <p:nvPicPr>
          <p:cNvPr id="8" name="Picture 7" descr="Google Play Store icon.">
            <a:extLst>
              <a:ext uri="{FF2B5EF4-FFF2-40B4-BE49-F238E27FC236}">
                <a16:creationId xmlns:a16="http://schemas.microsoft.com/office/drawing/2014/main" id="{50E6952B-DBF3-0425-E3E1-B8EB79D1DF6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05546" y="5730707"/>
            <a:ext cx="1406463" cy="455418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51A92296-2EAE-60D8-EB39-80A7247D3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2472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B5F1E2-17B3-A013-C959-291EBE67D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83292B-5D85-5CE6-D8BC-45D98E7161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93399" y="1156510"/>
            <a:ext cx="7018338" cy="5283200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ct val="100000"/>
              </a:lnSpc>
              <a:spcBef>
                <a:spcPts val="1200"/>
              </a:spcBef>
              <a:buNone/>
            </a:pPr>
            <a:r>
              <a:rPr lang="en-US" sz="2400" b="1">
                <a:solidFill>
                  <a:schemeClr val="tx2"/>
                </a:solidFill>
                <a:latin typeface="Arial"/>
                <a:cs typeface="Arial"/>
              </a:rPr>
              <a:t>Connect Student Support</a:t>
            </a:r>
          </a:p>
          <a:p>
            <a:pPr marL="0" indent="0">
              <a:lnSpc>
                <a:spcPct val="100000"/>
              </a:lnSpc>
              <a:spcBef>
                <a:spcPts val="1200"/>
              </a:spcBef>
              <a:buNone/>
            </a:pPr>
            <a:r>
              <a:rPr lang="en-US" b="0" i="0">
                <a:solidFill>
                  <a:srgbClr val="000000"/>
                </a:solidFill>
                <a:effectLst/>
                <a:latin typeface="Arial"/>
                <a:cs typeface="Arial"/>
              </a:rPr>
              <a:t>Learn how to register, navigate 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Connect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cs typeface="Arial"/>
              </a:rPr>
              <a:t>, use 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SmartBook</a:t>
            </a:r>
            <a:r>
              <a:rPr lang="en-US" sz="1400" b="1" baseline="30000">
                <a:solidFill>
                  <a:srgbClr val="000000"/>
                </a:solidFill>
                <a:latin typeface="Arial"/>
                <a:cs typeface="Arial"/>
              </a:rPr>
              <a:t>®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, download the ReadAnywhere</a:t>
            </a:r>
            <a:r>
              <a:rPr lang="en-US" sz="1400" b="1" baseline="30000">
                <a:solidFill>
                  <a:srgbClr val="000000"/>
                </a:solidFill>
                <a:latin typeface="Arial"/>
                <a:cs typeface="Arial"/>
              </a:rPr>
              <a:t>®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 app, and more!</a:t>
            </a:r>
            <a:br>
              <a:rPr lang="en-US">
                <a:latin typeface="Arial"/>
                <a:cs typeface="Arial"/>
              </a:rPr>
            </a:br>
            <a:br>
              <a:rPr lang="en-US" b="0" i="0">
                <a:effectLst/>
              </a:rPr>
            </a:br>
            <a:r>
              <a:rPr lang="en-US" b="1">
                <a:solidFill>
                  <a:schemeClr val="tx2"/>
                </a:solidFill>
                <a:latin typeface="Arial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heducation</a:t>
            </a:r>
            <a:r>
              <a:rPr lang="en-US" b="1" i="0">
                <a:solidFill>
                  <a:schemeClr val="tx2"/>
                </a:solidFill>
                <a:effectLst/>
                <a:latin typeface="Arial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</a:t>
            </a:r>
            <a:r>
              <a:rPr lang="en-US" b="1">
                <a:solidFill>
                  <a:schemeClr val="tx2"/>
                </a:solidFill>
                <a:latin typeface="Arial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/</a:t>
            </a:r>
            <a:r>
              <a:rPr lang="en-US" b="1" err="1">
                <a:solidFill>
                  <a:schemeClr val="tx2"/>
                </a:solidFill>
                <a:latin typeface="Arial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ighered</a:t>
            </a:r>
            <a:r>
              <a:rPr lang="en-US" b="1">
                <a:solidFill>
                  <a:schemeClr val="tx2"/>
                </a:solidFill>
                <a:latin typeface="Arial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support/student</a:t>
            </a:r>
            <a:r>
              <a:rPr lang="en-US" b="1" i="0">
                <a:solidFill>
                  <a:schemeClr val="tx2"/>
                </a:solidFill>
                <a:effectLst/>
                <a:latin typeface="Arial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en-US" b="1">
                <a:solidFill>
                  <a:schemeClr val="tx2"/>
                </a:solidFill>
                <a:latin typeface="Arial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nect.html</a:t>
            </a:r>
            <a:endParaRPr lang="en-US" b="1">
              <a:solidFill>
                <a:schemeClr val="tx2"/>
              </a:solidFill>
              <a:latin typeface="Arial"/>
              <a:cs typeface="Arial"/>
            </a:endParaRPr>
          </a:p>
          <a:p>
            <a:pPr marL="0" indent="0">
              <a:lnSpc>
                <a:spcPct val="100000"/>
              </a:lnSpc>
              <a:spcBef>
                <a:spcPts val="1200"/>
              </a:spcBef>
              <a:buNone/>
            </a:pP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Plus, access </a:t>
            </a:r>
            <a:r>
              <a:rPr lang="en-US" b="1">
                <a:solidFill>
                  <a:srgbClr val="000000"/>
                </a:solidFill>
                <a:latin typeface="Arial"/>
                <a:cs typeface="Arial"/>
              </a:rPr>
              <a:t>technical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b="1">
                <a:solidFill>
                  <a:srgbClr val="000000"/>
                </a:solidFill>
                <a:latin typeface="Arial"/>
                <a:cs typeface="Arial"/>
              </a:rPr>
              <a:t>support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 via chat </a:t>
            </a:r>
            <a:br>
              <a:rPr lang="en-US">
                <a:solidFill>
                  <a:srgbClr val="000000"/>
                </a:solidFill>
              </a:rPr>
            </a:b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or phone at </a:t>
            </a:r>
            <a:r>
              <a:rPr lang="en-US" b="1">
                <a:solidFill>
                  <a:srgbClr val="000000"/>
                </a:solidFill>
                <a:latin typeface="Arial"/>
                <a:cs typeface="Arial"/>
              </a:rPr>
              <a:t>(800) 331-5094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 sz="1600" b="1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00000"/>
              </a:lnSpc>
              <a:spcBef>
                <a:spcPts val="1200"/>
              </a:spcBef>
              <a:buNone/>
            </a:pPr>
            <a:r>
              <a:rPr lang="en-US" sz="1800" b="1" i="0">
                <a:solidFill>
                  <a:schemeClr val="tx2"/>
                </a:solidFill>
                <a:effectLst/>
                <a:latin typeface="Arial"/>
                <a:cs typeface="Arial"/>
              </a:rPr>
              <a:t>Hours of Operation:</a:t>
            </a:r>
            <a:endParaRPr lang="en-US" b="1">
              <a:solidFill>
                <a:schemeClr val="tx2"/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b="0" i="0">
                <a:solidFill>
                  <a:srgbClr val="000000"/>
                </a:solidFill>
                <a:effectLst/>
                <a:latin typeface="Arial"/>
                <a:cs typeface="Arial"/>
              </a:rPr>
              <a:t>Sunday: 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12 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cs typeface="Arial"/>
              </a:rPr>
              <a:t>PM to 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12 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cs typeface="Arial"/>
              </a:rPr>
              <a:t>AM 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ET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Monday–Thursday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cs typeface="Arial"/>
              </a:rPr>
              <a:t>: 24 hours</a:t>
            </a:r>
            <a:endParaRPr lang="en-US">
              <a:solidFill>
                <a:srgbClr val="000000"/>
              </a:solidFill>
            </a:endParaRP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b="0" i="0">
                <a:solidFill>
                  <a:srgbClr val="000000"/>
                </a:solidFill>
                <a:effectLst/>
                <a:latin typeface="Arial"/>
                <a:cs typeface="Arial"/>
              </a:rPr>
              <a:t>Friday: 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12 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cs typeface="Arial"/>
              </a:rPr>
              <a:t>AM to 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9 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cs typeface="Arial"/>
              </a:rPr>
              <a:t>PM 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ET</a:t>
            </a:r>
            <a:endParaRPr lang="en-US">
              <a:solidFill>
                <a:srgbClr val="000000"/>
              </a:solidFill>
            </a:endParaRP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b="0" i="0">
                <a:solidFill>
                  <a:srgbClr val="000000"/>
                </a:solidFill>
                <a:effectLst/>
                <a:latin typeface="Arial"/>
                <a:cs typeface="Arial"/>
              </a:rPr>
              <a:t>Saturday: 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10 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cs typeface="Arial"/>
              </a:rPr>
              <a:t>AM to 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8 </a:t>
            </a:r>
            <a:r>
              <a:rPr lang="en-US" b="0" i="0">
                <a:solidFill>
                  <a:srgbClr val="000000"/>
                </a:solidFill>
                <a:effectLst/>
                <a:latin typeface="Arial"/>
                <a:cs typeface="Arial"/>
              </a:rPr>
              <a:t>PM 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ET</a:t>
            </a:r>
            <a:endParaRPr lang="en-US">
              <a:solidFill>
                <a:srgbClr val="000000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FE766CE-7799-F25F-DBD6-7360E926E0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723" t="28837" r="58035" b="14977"/>
          <a:stretch/>
        </p:blipFill>
        <p:spPr>
          <a:xfrm>
            <a:off x="452062" y="2139190"/>
            <a:ext cx="3174714" cy="3317841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FB1905E1-2753-B4E9-BE76-D17C5562F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  <p:pic>
        <p:nvPicPr>
          <p:cNvPr id="2" name="Picture 6" descr="QR code to scan to access Connect student support.">
            <a:extLst>
              <a:ext uri="{FF2B5EF4-FFF2-40B4-BE49-F238E27FC236}">
                <a16:creationId xmlns:a16="http://schemas.microsoft.com/office/drawing/2014/main" id="{42D9CE48-3DF9-4968-D117-5A388ADAC9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97258" y="3508780"/>
            <a:ext cx="3033485" cy="3021488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82AAE37C-C90C-1F82-62E9-37D8C0F372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8357" y="6858000"/>
            <a:ext cx="2308129" cy="194890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onnect Student Support</a:t>
            </a:r>
          </a:p>
        </p:txBody>
      </p:sp>
    </p:spTree>
    <p:extLst>
      <p:ext uri="{BB962C8B-B14F-4D97-AF65-F5344CB8AC3E}">
        <p14:creationId xmlns:p14="http://schemas.microsoft.com/office/powerpoint/2010/main" val="40014325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D7B711-4DBF-9243-6526-349BEE1694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03F5F1-3953-7077-094E-18C2D326564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86BE680-F286-5F0A-67B2-3AC64F79525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ts val="246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Purchase Flow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A Registration: Conn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ct Integrated with a Learning Management System (LMS)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F63B5C2C-DB9D-0544-7D71-0F42C15188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FEFFD9DE-0378-9FA1-EC12-952CED01FE1D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DEC2852-0BC7-7C70-FE04-E31FABBB687A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E6624F-BBCD-4210-2044-75519B896B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222" t="15233" b="246"/>
          <a:stretch/>
        </p:blipFill>
        <p:spPr>
          <a:xfrm>
            <a:off x="3884263" y="3002037"/>
            <a:ext cx="4834427" cy="3846317"/>
          </a:xfrm>
          <a:prstGeom prst="rect">
            <a:avLst/>
          </a:prstGeom>
        </p:spPr>
      </p:pic>
      <p:pic>
        <p:nvPicPr>
          <p:cNvPr id="8" name="Picture 7" descr="Laptop showing the McGraw Hill Connect platform and a mobile phone showing the Sharpen study app.">
            <a:extLst>
              <a:ext uri="{FF2B5EF4-FFF2-40B4-BE49-F238E27FC236}">
                <a16:creationId xmlns:a16="http://schemas.microsoft.com/office/drawing/2014/main" id="{D73D54A7-768E-BE61-DC7B-3670508B41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2455" y="4432478"/>
            <a:ext cx="2938738" cy="217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0157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71EBC9-A15D-ABC3-C0B8-385F156B2C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ACD66EC-3FB3-3E0A-6682-023DF2334E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Accessing McGraw Hill Connect:</a:t>
            </a:r>
            <a:br>
              <a:rPr lang="en-US">
                <a:latin typeface="Arial"/>
                <a:cs typeface="Arial"/>
              </a:rPr>
            </a:br>
            <a:br>
              <a:rPr lang="en-US">
                <a:latin typeface="Arial"/>
                <a:cs typeface="Arial"/>
              </a:rPr>
            </a:br>
            <a:r>
              <a:rPr lang="en-US">
                <a:latin typeface="Arial"/>
                <a:cs typeface="Arial"/>
              </a:rPr>
              <a:t>Canva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16A585-AAC5-CE7C-93CF-9E256D91779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endParaRPr lang="en-US" baseline="30000"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6F6A68-27C6-E85E-B0F8-BE729074D39B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1</a:t>
            </a:r>
            <a:endParaRPr lang="en-US" sz="2400" b="1">
              <a:latin typeface="Arial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5FDD256-4257-B710-D87C-4175A617EF88}"/>
              </a:ext>
            </a:extLst>
          </p:cNvPr>
          <p:cNvSpPr txBox="1"/>
          <p:nvPr/>
        </p:nvSpPr>
        <p:spPr>
          <a:xfrm>
            <a:off x="4500561" y="2094263"/>
            <a:ext cx="5448113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To access McGraw Hill Connect from your Canvas course, click to open the McGraw Hill Connect assignment. On the next screen, click again to launch it.</a:t>
            </a:r>
            <a:endParaRPr lang="en-US"/>
          </a:p>
        </p:txBody>
      </p:sp>
      <p:pic>
        <p:nvPicPr>
          <p:cNvPr id="5" name="Picture 5" descr="Canvas course screenshot showing the student's Connect assignment. Yellow rectangle highlights the assignment.">
            <a:extLst>
              <a:ext uri="{FF2B5EF4-FFF2-40B4-BE49-F238E27FC236}">
                <a16:creationId xmlns:a16="http://schemas.microsoft.com/office/drawing/2014/main" id="{C47A078D-F11A-056B-F874-9CAC1F6854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7809" y="3062962"/>
            <a:ext cx="5528128" cy="181940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B0ABD4A-6777-DB7B-A61A-FB0B1FE408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24597" y="3969078"/>
            <a:ext cx="1306450" cy="292925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9" name="Picture 8" descr="Connect assignment screenshot with the launch button.">
            <a:extLst>
              <a:ext uri="{FF2B5EF4-FFF2-40B4-BE49-F238E27FC236}">
                <a16:creationId xmlns:a16="http://schemas.microsoft.com/office/drawing/2014/main" id="{11475474-CF28-2EF3-D1D8-1B651EF2D3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98564" y="4584781"/>
            <a:ext cx="4271211" cy="212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2570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2A43DFC8-760D-FA5E-F9F9-479122304F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12812"/>
            <a:ext cx="12192000" cy="6845188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There is a 95% student satisfaction rate reported.&#10;&#10;&#10;&#10;&#10;">
            <a:extLst>
              <a:ext uri="{FF2B5EF4-FFF2-40B4-BE49-F238E27FC236}">
                <a16:creationId xmlns:a16="http://schemas.microsoft.com/office/drawing/2014/main" id="{1B13A01B-16DB-B0E2-5766-38690CAA92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88755" y="4434030"/>
            <a:ext cx="2227431" cy="2423969"/>
          </a:xfrm>
          <a:prstGeom prst="rect">
            <a:avLst/>
          </a:prstGeom>
        </p:spPr>
      </p:pic>
      <p:pic>
        <p:nvPicPr>
          <p:cNvPr id="13" name="Picture 12" descr="88% of students using Connect report that they find it easy to use.">
            <a:extLst>
              <a:ext uri="{FF2B5EF4-FFF2-40B4-BE49-F238E27FC236}">
                <a16:creationId xmlns:a16="http://schemas.microsoft.com/office/drawing/2014/main" id="{A585DD2F-02DA-8B7A-EADE-717BCC7FDF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9703" y="4434031"/>
            <a:ext cx="2734733" cy="2423968"/>
          </a:xfrm>
          <a:prstGeom prst="rect">
            <a:avLst/>
          </a:prstGeom>
        </p:spPr>
      </p:pic>
      <p:pic>
        <p:nvPicPr>
          <p:cNvPr id="11" name="Picture 10" descr="There is a 99% uptime and reliability reported among users.">
            <a:extLst>
              <a:ext uri="{FF2B5EF4-FFF2-40B4-BE49-F238E27FC236}">
                <a16:creationId xmlns:a16="http://schemas.microsoft.com/office/drawing/2014/main" id="{AA9CA2E7-A54B-32DB-2E9E-4D7112E454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14046" y="4434031"/>
            <a:ext cx="2197732" cy="2423969"/>
          </a:xfrm>
          <a:prstGeom prst="rect">
            <a:avLst/>
          </a:prstGeom>
        </p:spPr>
      </p:pic>
      <p:pic>
        <p:nvPicPr>
          <p:cNvPr id="5" name="Picture 4" descr="A computer with a chat window">
            <a:extLst>
              <a:ext uri="{FF2B5EF4-FFF2-40B4-BE49-F238E27FC236}">
                <a16:creationId xmlns:a16="http://schemas.microsoft.com/office/drawing/2014/main" id="{4EB64396-0494-E881-FF52-7D72ADF54C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06133" y="1413000"/>
            <a:ext cx="5268209" cy="2782088"/>
          </a:xfrm>
          <a:prstGeom prst="rect">
            <a:avLst/>
          </a:prstGeom>
        </p:spPr>
      </p:pic>
      <p:sp>
        <p:nvSpPr>
          <p:cNvPr id="2" name="Content">
            <a:extLst>
              <a:ext uri="{FF2B5EF4-FFF2-40B4-BE49-F238E27FC236}">
                <a16:creationId xmlns:a16="http://schemas.microsoft.com/office/drawing/2014/main" id="{2DCC113D-1C05-E944-2ED5-9EAFBCBCFA3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0905" y="2423969"/>
            <a:ext cx="3759272" cy="2911396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  <a:latin typeface="Arial"/>
                <a:cs typeface="Arial"/>
              </a:rPr>
              <a:t>Personalized Learning 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Interactive, Course-Specific Tools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Built-in AI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Mobile eBook Access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Affordable Materials 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Quality Content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Support!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E75B486-3B8F-1D3E-7066-0C1216A32E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88755" y="434586"/>
            <a:ext cx="2341460" cy="550591"/>
          </a:xfrm>
          <a:prstGeom prst="rect">
            <a:avLst/>
          </a:prstGeom>
        </p:spPr>
      </p:pic>
      <p:sp>
        <p:nvSpPr>
          <p:cNvPr id="27" name="Title 26">
            <a:extLst>
              <a:ext uri="{FF2B5EF4-FFF2-40B4-BE49-F238E27FC236}">
                <a16:creationId xmlns:a16="http://schemas.microsoft.com/office/drawing/2014/main" id="{A59AA992-546C-FC9F-640A-FC9DC982918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63517" y="434586"/>
            <a:ext cx="8898789" cy="138499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nect is your personalized digital learning experience designed to help you optimize study time and ramp up your grade potential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11581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AF83A8-93FC-4E3C-6772-2E56F4CC8A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C2B2D3-D761-B469-0333-E3A8BF884F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C8BD002B-DC8B-314A-FB3E-248C598D21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8D90825-017A-1D39-9535-98BFEE4605E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1739152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2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A1BD8B1-01DB-4D9C-1BF7-BD02B422764A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Enter your email address and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reate Account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If you receive the message "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You have a Connect Account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 but have forgotten your password," click 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Forgot your password?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 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*Depending on your school you might skip this step. That’s ok! Just continue the process from that step to the end. </a:t>
            </a:r>
            <a:endParaRPr lang="en-US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2" name="Picture 1" descr="Screenshot of the Connect Welcome page - Here students will either create an account or log in using an existing account.">
            <a:extLst>
              <a:ext uri="{FF2B5EF4-FFF2-40B4-BE49-F238E27FC236}">
                <a16:creationId xmlns:a16="http://schemas.microsoft.com/office/drawing/2014/main" id="{E1074BF6-0BBC-E519-1E68-07B44AB776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01045" y="3148466"/>
            <a:ext cx="2623912" cy="1567998"/>
          </a:xfrm>
          <a:prstGeom prst="rect">
            <a:avLst/>
          </a:prstGeom>
        </p:spPr>
      </p:pic>
      <p:pic>
        <p:nvPicPr>
          <p:cNvPr id="6" name="Picture 5" descr="Screenshot of Connect log-in screen.">
            <a:extLst>
              <a:ext uri="{FF2B5EF4-FFF2-40B4-BE49-F238E27FC236}">
                <a16:creationId xmlns:a16="http://schemas.microsoft.com/office/drawing/2014/main" id="{6E90F410-7F18-ACAC-32E0-8868114DB0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0742" y="2706007"/>
            <a:ext cx="4544182" cy="1935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0331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B164A5-BAE6-A18A-F688-F7D7E698EB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7AC1F3-9D96-E4C4-9B95-BC5DFCFC1C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D513328-8A2D-0304-F37B-54BEE249DE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F4706BD-26AA-DDF7-2A05-C1F5B8961F93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1739152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3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EB39872-7B94-0BB2-7DD9-ADA6A8E2629E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reate your account: Enter email, First and Last Name, create a password and select a security question. </a:t>
            </a: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Always use your school email address when creating an account. </a:t>
            </a: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To receive text alerts, enter your mobile number. Agree to the Terms and Conditions and then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tinue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333333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10" name="Picture 9" descr="Screenshot of Connect registration screen.">
            <a:extLst>
              <a:ext uri="{FF2B5EF4-FFF2-40B4-BE49-F238E27FC236}">
                <a16:creationId xmlns:a16="http://schemas.microsoft.com/office/drawing/2014/main" id="{F2121E59-ABD0-357A-77E9-38ADEA1904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1056" y="852233"/>
            <a:ext cx="2030269" cy="5845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5949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C0893F-D53C-B732-95E9-8F1B54EA1C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7BE609F-265B-6ECA-7C73-83EB43CFBD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408F0C6-920D-FFAF-32E6-F5AC6116C4E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E6BDACE-3C95-DBBB-5431-9DD0077E9F93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 Complete Registration to access your learning content.</a:t>
            </a:r>
            <a:endParaRPr lang="en-US"/>
          </a:p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successfully joined your course.</a:t>
            </a: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7BEB83-C208-5157-4968-A5B0E876B5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742870" y="2626936"/>
            <a:ext cx="2020207" cy="215444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800" b="1">
                <a:ea typeface="Calibri"/>
                <a:cs typeface="Calibri"/>
              </a:rPr>
              <a:t>Mader, Biology, 14e: Connect with Sharpen</a:t>
            </a:r>
          </a:p>
        </p:txBody>
      </p:sp>
      <p:pic>
        <p:nvPicPr>
          <p:cNvPr id="17" name="Picture 16" descr="Screenshot highlighting the Complete Registration button users must click on to join the course.">
            <a:extLst>
              <a:ext uri="{FF2B5EF4-FFF2-40B4-BE49-F238E27FC236}">
                <a16:creationId xmlns:a16="http://schemas.microsoft.com/office/drawing/2014/main" id="{E824B36A-3EAB-FAC3-AFE9-9035BB5D66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224" y="1492477"/>
            <a:ext cx="6530219" cy="3232000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82CD995-0289-B4EA-9FA6-A71E0C3ED8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8257" y="2584025"/>
            <a:ext cx="2198853" cy="697601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6052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9ED406-8D56-2C03-32D9-8AD2857F1D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F13D0F-03DE-8091-49AB-81C808C834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FB260E-1BE2-01E0-442F-8E686034E8D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ts val="246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Log-In Flow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n-IA and IA: Connect Integrated with a Learning Management System (LMS)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9A80E7AA-3628-3A3C-B899-2A1793FECE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1228838-41E7-8743-64B3-0C2E5366B0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EB1546F-E383-9624-DA0D-7BD40F1937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B94CDD-0A9D-0594-DEE2-47301F0860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222" t="14251" b="246"/>
          <a:stretch/>
        </p:blipFill>
        <p:spPr>
          <a:xfrm>
            <a:off x="3884263" y="2957213"/>
            <a:ext cx="4834427" cy="389104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9AFD67B-AD9B-571D-45B5-45CAD26F37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2455" y="4432478"/>
            <a:ext cx="2938738" cy="217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8615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074513-6A0B-C980-D365-3133946F27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ECD388-BDE4-B32C-C722-895049EACE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23E38D1-00F6-3830-D6A6-3165665348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4330957-D553-2BC9-BB60-B6DB5CD1EDD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21470" y="923998"/>
            <a:ext cx="5256390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Sharpen Companion Log-In Flow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Part 1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Calibri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B941393-78B7-54EF-512E-227DB1DE7352}"/>
              </a:ext>
            </a:extLst>
          </p:cNvPr>
          <p:cNvSpPr txBox="1">
            <a:spLocks/>
          </p:cNvSpPr>
          <p:nvPr/>
        </p:nvSpPr>
        <p:spPr>
          <a:xfrm>
            <a:off x="6921470" y="1754995"/>
            <a:ext cx="5119036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The LMS Cover Sheet includes two Sharpen launch points. </a:t>
            </a:r>
            <a:endParaRPr lang="en-US" dirty="0"/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First, click on the top LMS Cover Sheet to open a new page with the Sharpen access point. Click </a:t>
            </a:r>
            <a:r>
              <a:rPr lang="en-US" sz="1800" b="1" dirty="0">
                <a:latin typeface="Arial"/>
                <a:cs typeface="Arial"/>
              </a:rPr>
              <a:t>Begin </a:t>
            </a:r>
            <a:r>
              <a:rPr lang="en-US" sz="1800" dirty="0">
                <a:latin typeface="Arial"/>
                <a:cs typeface="Arial"/>
              </a:rPr>
              <a:t>to launch Sharpen in a new web window.</a:t>
            </a:r>
            <a:endParaRPr lang="en-US" dirty="0"/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</p:txBody>
      </p:sp>
      <p:pic>
        <p:nvPicPr>
          <p:cNvPr id="7" name="Picture 6" descr="Screenshot of Sharpen access points on the Connect page. Yellow rectangle highlights the assignment.">
            <a:extLst>
              <a:ext uri="{FF2B5EF4-FFF2-40B4-BE49-F238E27FC236}">
                <a16:creationId xmlns:a16="http://schemas.microsoft.com/office/drawing/2014/main" id="{B2102AB5-EC71-434C-FEB4-30BD35AD57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177" y="923999"/>
            <a:ext cx="5355442" cy="2608548"/>
          </a:xfrm>
          <a:prstGeom prst="rect">
            <a:avLst/>
          </a:prstGeom>
        </p:spPr>
      </p:pic>
      <p:pic>
        <p:nvPicPr>
          <p:cNvPr id="9" name="Picture 8" descr="Screenshot of Begin button to launch Sharpen. Yellow rectangle highlights the Begin button.">
            <a:extLst>
              <a:ext uri="{FF2B5EF4-FFF2-40B4-BE49-F238E27FC236}">
                <a16:creationId xmlns:a16="http://schemas.microsoft.com/office/drawing/2014/main" id="{84543BC3-0BFA-C64F-A2FD-2E27DA75B5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93012" y="3542117"/>
            <a:ext cx="3512724" cy="304044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7C414CE-01BC-DF89-2A35-01DEC0A5CD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88456" y="1913162"/>
            <a:ext cx="1006467" cy="249219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19" name="Picture 18" descr="Sharpen web app that opens after students open Sharpen from Connect.">
            <a:extLst>
              <a:ext uri="{FF2B5EF4-FFF2-40B4-BE49-F238E27FC236}">
                <a16:creationId xmlns:a16="http://schemas.microsoft.com/office/drawing/2014/main" id="{E2528E62-6FA8-04B7-83E7-01D693DAE8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7643" y="4554250"/>
            <a:ext cx="5950857" cy="145064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A283A2C-66F4-FF97-9062-124486E7BD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66043" y="4639053"/>
            <a:ext cx="1191591" cy="350074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12068009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343D05-AEF8-801C-8B9F-B0679DE872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C12CF5-2A6D-250F-0D68-A02ADF266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3651F751-DC0E-2BE1-C873-7E1D158E2D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DDBEFD0-351C-13DB-D55D-F55EAEF877E5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21470" y="923998"/>
            <a:ext cx="5256390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Sharpen Companion Log-In Flow Part 2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Calibri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EA66A1F-AB04-9744-8BCF-BC5DA997EF21}"/>
              </a:ext>
            </a:extLst>
          </p:cNvPr>
          <p:cNvSpPr txBox="1">
            <a:spLocks/>
          </p:cNvSpPr>
          <p:nvPr/>
        </p:nvSpPr>
        <p:spPr>
          <a:xfrm>
            <a:off x="6921470" y="1754995"/>
            <a:ext cx="5119036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en-US" sz="1800" b="1" dirty="0">
                <a:latin typeface="Arial"/>
                <a:cs typeface="Arial"/>
              </a:rPr>
              <a:t>LMS Cover Sheet</a:t>
            </a:r>
            <a:r>
              <a:rPr lang="en-US" sz="1800" dirty="0">
                <a:latin typeface="Arial"/>
                <a:cs typeface="Arial"/>
              </a:rPr>
              <a:t>: </a:t>
            </a:r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Then, click on the bottom Sharpen assignment to open a new page with the Sharpen access point. </a:t>
            </a:r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Click </a:t>
            </a:r>
            <a:r>
              <a:rPr lang="en-US" sz="1800" b="1" dirty="0">
                <a:latin typeface="Arial"/>
                <a:cs typeface="Arial"/>
              </a:rPr>
              <a:t>Begin </a:t>
            </a:r>
            <a:r>
              <a:rPr lang="en-US" sz="1800" dirty="0">
                <a:latin typeface="Arial"/>
                <a:cs typeface="Arial"/>
              </a:rPr>
              <a:t>to launch Sharpen in a new web window.</a:t>
            </a:r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800" dirty="0">
              <a:latin typeface="Arial"/>
              <a:cs typeface="Arial"/>
            </a:endParaRPr>
          </a:p>
        </p:txBody>
      </p:sp>
      <p:pic>
        <p:nvPicPr>
          <p:cNvPr id="6" name="Picture 5" descr="Screenshot of Sharpen access points on the Connect page. Yellow rectangle highlights the assignment.">
            <a:extLst>
              <a:ext uri="{FF2B5EF4-FFF2-40B4-BE49-F238E27FC236}">
                <a16:creationId xmlns:a16="http://schemas.microsoft.com/office/drawing/2014/main" id="{C98E3267-1366-3737-FC75-06C918A0D4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177" y="923999"/>
            <a:ext cx="5355442" cy="2608548"/>
          </a:xfrm>
          <a:prstGeom prst="rect">
            <a:avLst/>
          </a:prstGeom>
        </p:spPr>
      </p:pic>
      <p:pic>
        <p:nvPicPr>
          <p:cNvPr id="10" name="Picture 9" descr="Screenshot of Begin button to launch Sharpen. Yellow rectangle highlights the Launch point.">
            <a:extLst>
              <a:ext uri="{FF2B5EF4-FFF2-40B4-BE49-F238E27FC236}">
                <a16:creationId xmlns:a16="http://schemas.microsoft.com/office/drawing/2014/main" id="{FD1BC754-F213-B3DE-5D98-37E33D5286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4494" y="3708144"/>
            <a:ext cx="4898572" cy="260764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35856B0-0EC7-0B8A-ADEE-DC55B78D02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88455" y="2364259"/>
            <a:ext cx="1006467" cy="249219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7" name="Picture 6" descr="Sharpen web app that opens after students open Sharpen from Connect.">
            <a:extLst>
              <a:ext uri="{FF2B5EF4-FFF2-40B4-BE49-F238E27FC236}">
                <a16:creationId xmlns:a16="http://schemas.microsoft.com/office/drawing/2014/main" id="{7F45EF98-FA8C-618D-6CBC-CC920CB809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7643" y="4554250"/>
            <a:ext cx="5950857" cy="145064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953D034-9077-D990-6712-74D321D332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08072" y="5412259"/>
            <a:ext cx="1465908" cy="417307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21505594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BDBB3D-08E0-4F77-D05F-727E0D26A5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6EE572-9EC7-1B66-88F3-F2C925BC559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nk you!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9C3C409-5836-B155-D0DA-9EF618E5A3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 Connect</a:t>
            </a:r>
            <a:r>
              <a:rPr lang="en-US" baseline="30000">
                <a:latin typeface="Arial"/>
                <a:cs typeface="Arial"/>
              </a:rPr>
              <a:t> ®</a:t>
            </a:r>
            <a:r>
              <a:rPr lang="en-US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E89D20-0534-3B8B-5C63-8AD4D1A290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C413EC-DFE6-8E97-763B-6A458D13D6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5990" b="239"/>
          <a:stretch/>
        </p:blipFill>
        <p:spPr>
          <a:xfrm>
            <a:off x="3884263" y="2239979"/>
            <a:ext cx="5848785" cy="462037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526AF70-00EB-6272-9C69-35FECD9C63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38272" y="4941165"/>
            <a:ext cx="2304184" cy="166312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296A8E8-78EB-8F12-DA69-3DB75E69C9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25131" y="3120364"/>
            <a:ext cx="2077732" cy="1625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2047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457734" y="2318515"/>
            <a:ext cx="2731443" cy="2731443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254000" dist="38100" dir="2700000" algn="tl" rotWithShape="0">
              <a:prstClr val="black">
                <a:alpha val="4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!</a:t>
            </a:r>
          </a:p>
        </p:txBody>
      </p:sp>
      <p:sp>
        <p:nvSpPr>
          <p:cNvPr id="5" name="Diamond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380681" y="2352971"/>
            <a:ext cx="243749" cy="243749"/>
          </a:xfrm>
          <a:prstGeom prst="diamond">
            <a:avLst/>
          </a:prstGeom>
          <a:solidFill>
            <a:srgbClr val="CC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Diamond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593459" y="5641705"/>
            <a:ext cx="243749" cy="243749"/>
          </a:xfrm>
          <a:prstGeom prst="diamond">
            <a:avLst/>
          </a:prstGeom>
          <a:solidFill>
            <a:srgbClr val="E3BAF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Diamond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599540" y="4623555"/>
            <a:ext cx="243749" cy="243749"/>
          </a:xfrm>
          <a:prstGeom prst="diamond">
            <a:avLst/>
          </a:prstGeom>
          <a:solidFill>
            <a:srgbClr val="7030A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Diamond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774688" y="3444413"/>
            <a:ext cx="243749" cy="243749"/>
          </a:xfrm>
          <a:prstGeom prst="diamond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3" name="Straight Connector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990291" y="3561134"/>
            <a:ext cx="141485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902912" y="4752523"/>
            <a:ext cx="149415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3948047" y="5770672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663964" y="3124116"/>
            <a:ext cx="926088" cy="926088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7" name="Oval 1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647004" y="4336522"/>
            <a:ext cx="926088" cy="926088"/>
          </a:xfrm>
          <a:prstGeom prst="ellipse">
            <a:avLst/>
          </a:prstGeom>
          <a:solidFill>
            <a:srgbClr val="7030A0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Oval 1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649987" y="5387649"/>
            <a:ext cx="926088" cy="926088"/>
          </a:xfrm>
          <a:prstGeom prst="ellipse">
            <a:avLst/>
          </a:prstGeom>
          <a:solidFill>
            <a:srgbClr val="E3BAFE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22" name="Straight Connector 2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721415" y="2462964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247343" y="1972092"/>
            <a:ext cx="926088" cy="926088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Diamond 11">
            <a:extLst>
              <a:ext uri="{FF2B5EF4-FFF2-40B4-BE49-F238E27FC236}">
                <a16:creationId xmlns:a16="http://schemas.microsoft.com/office/drawing/2014/main" id="{A1F7072A-CFCF-833C-0C76-8305D4EA97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035795" y="1448962"/>
            <a:ext cx="243749" cy="243749"/>
          </a:xfrm>
          <a:prstGeom prst="diamond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6061442-C886-DFB1-AC08-A0DF6B95D9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955397" y="946388"/>
            <a:ext cx="926088" cy="926088"/>
          </a:xfrm>
          <a:prstGeom prst="ellipse">
            <a:avLst/>
          </a:prstGeom>
          <a:solidFill>
            <a:srgbClr val="002060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E1C89F4-1B61-7055-85B8-9DA1D5B8C6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3390383" y="1577929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6C46B8-D4FE-0D7C-6202-530A521276C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6667" y="6129970"/>
            <a:ext cx="11669636" cy="603634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0000" lnSpcReduction="20000"/>
          </a:bodyPr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0">
              <a:spcAft>
                <a:spcPts val="600"/>
              </a:spcAft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None/>
            </a:pPr>
            <a:r>
              <a:rPr lang="en-US" sz="1400" b="0" dirty="0">
                <a:latin typeface="Arial"/>
                <a:cs typeface="Arial"/>
              </a:rPr>
              <a:t>*  </a:t>
            </a:r>
            <a:r>
              <a:rPr lang="en-US" sz="1400" b="0" i="1" dirty="0" err="1">
                <a:latin typeface="Arial"/>
                <a:cs typeface="Arial"/>
              </a:rPr>
              <a:t>ReadAnywhere</a:t>
            </a:r>
            <a:r>
              <a:rPr lang="en-US" sz="1400" b="0" i="1" dirty="0">
                <a:latin typeface="Arial"/>
                <a:cs typeface="Arial"/>
              </a:rPr>
              <a:t> supports newer eBooks and </a:t>
            </a:r>
            <a:r>
              <a:rPr lang="en-US" sz="1400" b="0" i="1" dirty="0" err="1">
                <a:latin typeface="Arial"/>
                <a:cs typeface="Arial"/>
              </a:rPr>
              <a:t>SmartBook</a:t>
            </a:r>
            <a:r>
              <a:rPr lang="en-US" sz="1400" b="0" i="1" dirty="0">
                <a:latin typeface="Arial"/>
                <a:cs typeface="Arial"/>
              </a:rPr>
              <a:t> - may not be available in your Connect course. Sharpen available in most courses.</a:t>
            </a:r>
            <a:endParaRPr lang="en-US" b="0" dirty="0">
              <a:latin typeface="Arial"/>
              <a:cs typeface="Arial"/>
            </a:endParaRPr>
          </a:p>
          <a:p>
            <a:endParaRPr lang="en-US" dirty="0"/>
          </a:p>
        </p:txBody>
      </p:sp>
      <p:grpSp>
        <p:nvGrpSpPr>
          <p:cNvPr id="79" name="Group 78" descr="Get support when needed. Connect support is available 24/7 via chat or phone. Please reach out to them with any issues. They are there to help!">
            <a:extLst>
              <a:ext uri="{FF2B5EF4-FFF2-40B4-BE49-F238E27FC236}">
                <a16:creationId xmlns:a16="http://schemas.microsoft.com/office/drawing/2014/main" id="{60F9DCB8-D144-8DCD-73CA-2DAD61EB592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662552" y="5513314"/>
            <a:ext cx="4618053" cy="773924"/>
            <a:chOff x="6712960" y="1530785"/>
            <a:chExt cx="2405788" cy="773924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7E96D5CC-7B0E-74D7-25A4-2F887F0BDF2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Connect support is available 24/7 via chat or phone. Please reach out to them with any issues. They are there to help!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B1E9868A-AD10-6242-D3FC-B97221004FE4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Get Support When Needed</a:t>
              </a:r>
            </a:p>
          </p:txBody>
        </p:sp>
      </p:grpSp>
      <p:pic>
        <p:nvPicPr>
          <p:cNvPr id="93" name="Graphic 92" descr="Lightbulb and gear outline">
            <a:extLst>
              <a:ext uri="{FF2B5EF4-FFF2-40B4-BE49-F238E27FC236}">
                <a16:creationId xmlns:a16="http://schemas.microsoft.com/office/drawing/2014/main" id="{F3D0A7AB-A13F-8A04-6C2D-858BF15858D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761395" y="5473817"/>
            <a:ext cx="743764" cy="743764"/>
          </a:xfrm>
          <a:prstGeom prst="rect">
            <a:avLst/>
          </a:prstGeom>
        </p:spPr>
      </p:pic>
      <p:grpSp>
        <p:nvGrpSpPr>
          <p:cNvPr id="76" name="Group 75" descr="Use your resources. Prep like a pro with exam-like quizzes, flashcards, videos, and study tools aligned with your textbook.">
            <a:extLst>
              <a:ext uri="{FF2B5EF4-FFF2-40B4-BE49-F238E27FC236}">
                <a16:creationId xmlns:a16="http://schemas.microsoft.com/office/drawing/2014/main" id="{687B8526-DD28-8E16-6017-8FA65D22A318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644583" y="4379592"/>
            <a:ext cx="3809806" cy="989368"/>
            <a:chOff x="6712960" y="1530785"/>
            <a:chExt cx="2405788" cy="989368"/>
          </a:xfrm>
        </p:grpSpPr>
        <p:sp>
          <p:nvSpPr>
            <p:cNvPr id="77" name="Rectangle 76" descr="Use your resources. Prep like a pro with exam-like quizzes, flashcards, videos, and study tools aligned with your textbook.">
              <a:extLst>
                <a:ext uri="{FF2B5EF4-FFF2-40B4-BE49-F238E27FC236}">
                  <a16:creationId xmlns:a16="http://schemas.microsoft.com/office/drawing/2014/main" id="{05C7FFA6-1DA2-B6B4-9AD8-3C8AC852CF1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Prep like a pro with exam-like quizzes, flashcards, videos, and study tools aligned with your textbook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92BC0027-A31C-0F53-9CD8-B4A579D412E7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Use Your Resources</a:t>
              </a:r>
            </a:p>
          </p:txBody>
        </p:sp>
      </p:grpSp>
      <p:pic>
        <p:nvPicPr>
          <p:cNvPr id="91" name="Graphic 90" descr="Connections outline">
            <a:extLst>
              <a:ext uri="{FF2B5EF4-FFF2-40B4-BE49-F238E27FC236}">
                <a16:creationId xmlns:a16="http://schemas.microsoft.com/office/drawing/2014/main" id="{EDB9C382-3EB5-128A-D3CC-DC717CB757D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820544" y="4502111"/>
            <a:ext cx="594910" cy="594910"/>
          </a:xfrm>
          <a:prstGeom prst="rect">
            <a:avLst/>
          </a:prstGeom>
        </p:spPr>
      </p:pic>
      <p:grpSp>
        <p:nvGrpSpPr>
          <p:cNvPr id="73" name="Group 72" descr="Know what to study. Recharge in SmartBook provides you with personalized studying of concepts you’ve learned. Built with the power of learning science, you’ll know just what to study!">
            <a:extLst>
              <a:ext uri="{FF2B5EF4-FFF2-40B4-BE49-F238E27FC236}">
                <a16:creationId xmlns:a16="http://schemas.microsoft.com/office/drawing/2014/main" id="{9F2F35AE-15BE-5686-2687-37F31526F887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661721" y="3048290"/>
            <a:ext cx="4378036" cy="1204811"/>
            <a:chOff x="6712960" y="1530785"/>
            <a:chExt cx="2405788" cy="1204811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E755CA58-09D0-6D28-5F50-71D1A433A89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Recharge in </a:t>
              </a:r>
              <a:r>
                <a:rPr lang="en-US" sz="1400" dirty="0" err="1">
                  <a:latin typeface="Calibri"/>
                  <a:cs typeface="Calibri"/>
                </a:rPr>
                <a:t>SmartBook</a:t>
              </a:r>
              <a:r>
                <a:rPr lang="en-US" sz="1400" dirty="0">
                  <a:latin typeface="Calibri"/>
                  <a:cs typeface="Calibri"/>
                </a:rPr>
                <a:t> provides you with personalized studying of concepts you’ve learned. Built with the power of learning science, you’ll know just what to study!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1E45B606-2B6C-7FAC-8328-9A5B7B3BB8E3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Know What to Study</a:t>
              </a:r>
            </a:p>
          </p:txBody>
        </p:sp>
      </p:grpSp>
      <p:pic>
        <p:nvPicPr>
          <p:cNvPr id="83" name="Graphic 82" descr="Chat bubble outline">
            <a:extLst>
              <a:ext uri="{FF2B5EF4-FFF2-40B4-BE49-F238E27FC236}">
                <a16:creationId xmlns:a16="http://schemas.microsoft.com/office/drawing/2014/main" id="{3EC52EBC-83C9-D758-D8EE-B47ED5A348A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35633" y="3187590"/>
            <a:ext cx="823222" cy="823222"/>
          </a:xfrm>
          <a:prstGeom prst="rect">
            <a:avLst/>
          </a:prstGeom>
        </p:spPr>
      </p:pic>
      <p:grpSp>
        <p:nvGrpSpPr>
          <p:cNvPr id="21" name="Group 20" descr="Focus. View the Reports in Connect to understand key concepts from the content.">
            <a:extLst>
              <a:ext uri="{FF2B5EF4-FFF2-40B4-BE49-F238E27FC236}">
                <a16:creationId xmlns:a16="http://schemas.microsoft.com/office/drawing/2014/main" id="{C57DD816-45BD-248D-0E3C-C675FE6A5F80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407768" y="1988182"/>
            <a:ext cx="3809806" cy="773924"/>
            <a:chOff x="6712960" y="1530785"/>
            <a:chExt cx="2405788" cy="77392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FFB3366-15D0-6D31-51F7-89C54E46048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View the Reports in Connect to understand key concepts from the content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DC8AC9A0-5315-5051-B9C0-4C65E9CEA8ED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Focus!</a:t>
              </a:r>
            </a:p>
          </p:txBody>
        </p:sp>
      </p:grpSp>
      <p:pic>
        <p:nvPicPr>
          <p:cNvPr id="89" name="Graphic 88" descr="Ui Ux outline">
            <a:extLst>
              <a:ext uri="{FF2B5EF4-FFF2-40B4-BE49-F238E27FC236}">
                <a16:creationId xmlns:a16="http://schemas.microsoft.com/office/drawing/2014/main" id="{0080D1CD-4548-941A-1441-8EA4FDB99A6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84281" y="2085798"/>
            <a:ext cx="646197" cy="646197"/>
          </a:xfrm>
          <a:prstGeom prst="rect">
            <a:avLst/>
          </a:prstGeom>
        </p:spPr>
      </p:pic>
      <p:grpSp>
        <p:nvGrpSpPr>
          <p:cNvPr id="34" name="Group 33" descr="Learn On-the-Go. Download the free ReadAnywhere app to take your eBook and SmartBook with you—online and offline."/>
          <p:cNvGrpSpPr>
            <a:grpSpLocks noGrp="1" noUngrp="1" noRot="1" noMove="1" noResize="1"/>
          </p:cNvGrpSpPr>
          <p:nvPr/>
        </p:nvGrpSpPr>
        <p:grpSpPr>
          <a:xfrm>
            <a:off x="5979102" y="904473"/>
            <a:ext cx="5958898" cy="815133"/>
            <a:chOff x="6712960" y="1530785"/>
            <a:chExt cx="2405788" cy="815133"/>
          </a:xfrm>
        </p:grpSpPr>
        <p:sp>
          <p:nvSpPr>
            <p:cNvPr id="32" name="Rectangle 31"/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822698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Download the free </a:t>
              </a:r>
              <a:r>
                <a:rPr lang="en-US" sz="1400" dirty="0" err="1">
                  <a:latin typeface="Calibri"/>
                  <a:cs typeface="Calibri"/>
                </a:rPr>
                <a:t>ReadAnywhere</a:t>
              </a:r>
              <a:r>
                <a:rPr lang="en-US" sz="1400" dirty="0">
                  <a:latin typeface="Calibri"/>
                  <a:cs typeface="Calibri"/>
                </a:rPr>
                <a:t> app to take your eBook and </a:t>
              </a:r>
              <a:r>
                <a:rPr lang="en-US" sz="1400" dirty="0" err="1">
                  <a:latin typeface="Calibri"/>
                  <a:cs typeface="Calibri"/>
                </a:rPr>
                <a:t>SmartBook</a:t>
              </a:r>
              <a:r>
                <a:rPr lang="en-US" sz="1400" dirty="0">
                  <a:latin typeface="Calibri"/>
                  <a:cs typeface="Calibri"/>
                </a:rPr>
                <a:t> with you—online</a:t>
              </a:r>
              <a:r>
                <a:rPr lang="en-US" sz="1400" i="1" dirty="0">
                  <a:latin typeface="Calibri"/>
                  <a:cs typeface="Calibri"/>
                </a:rPr>
                <a:t> and </a:t>
              </a:r>
              <a:r>
                <a:rPr lang="en-US" sz="1400" dirty="0">
                  <a:latin typeface="Calibri"/>
                  <a:cs typeface="Calibri"/>
                </a:rPr>
                <a:t>offline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TextBox 32"/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Learn On-the-Go</a:t>
              </a:r>
            </a:p>
          </p:txBody>
        </p:sp>
      </p:grpSp>
      <p:pic>
        <p:nvPicPr>
          <p:cNvPr id="87" name="Graphic 86" descr="Smiling face outline outline">
            <a:extLst>
              <a:ext uri="{FF2B5EF4-FFF2-40B4-BE49-F238E27FC236}">
                <a16:creationId xmlns:a16="http://schemas.microsoft.com/office/drawing/2014/main" id="{75B10BC4-02A1-3C20-4F37-4D8CED478A9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053679" y="1027309"/>
            <a:ext cx="732442" cy="732442"/>
          </a:xfrm>
          <a:prstGeom prst="rect">
            <a:avLst/>
          </a:prstGeom>
        </p:spPr>
      </p:pic>
      <p:sp>
        <p:nvSpPr>
          <p:cNvPr id="4" name="Arc 3" descr="Make the most of connect to gain success!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67259" y="1612212"/>
            <a:ext cx="4378036" cy="4378034"/>
          </a:xfrm>
          <a:prstGeom prst="arc">
            <a:avLst>
              <a:gd name="adj1" fmla="val 16200000"/>
              <a:gd name="adj2" fmla="val 5361653"/>
            </a:avLst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" name="Picture 8" descr="McGraw Hill Connect Logo">
            <a:extLst>
              <a:ext uri="{FF2B5EF4-FFF2-40B4-BE49-F238E27FC236}">
                <a16:creationId xmlns:a16="http://schemas.microsoft.com/office/drawing/2014/main" id="{DE7325CA-533B-03D5-50AF-AC408B2AF38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523633" y="256749"/>
            <a:ext cx="2341460" cy="550591"/>
          </a:xfrm>
          <a:prstGeom prst="rect">
            <a:avLst/>
          </a:prstGeom>
        </p:spPr>
      </p:pic>
      <p:sp>
        <p:nvSpPr>
          <p:cNvPr id="2" name="Title 1"/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672494" y="-147031"/>
            <a:ext cx="10515600" cy="1325563"/>
          </a:xfrm>
        </p:spPr>
        <p:txBody>
          <a:bodyPr>
            <a:normAutofit/>
          </a:bodyPr>
          <a:lstStyle/>
          <a:p>
            <a:r>
              <a:rPr lang="en-IN" sz="3600" b="1" dirty="0">
                <a:solidFill>
                  <a:srgbClr val="002060"/>
                </a:solidFill>
              </a:rPr>
              <a:t>Make the Most of Connect!</a:t>
            </a:r>
          </a:p>
        </p:txBody>
      </p:sp>
    </p:spTree>
    <p:extLst>
      <p:ext uri="{BB962C8B-B14F-4D97-AF65-F5344CB8AC3E}">
        <p14:creationId xmlns:p14="http://schemas.microsoft.com/office/powerpoint/2010/main" val="3207652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689AD-3D61-36EA-2948-6B112DE424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1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84D9E0-C4F1-9D66-8F9F-2C7B5B122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Blackboard with Inclusive Access LTIA Deep Integration</a:t>
            </a:r>
          </a:p>
          <a:p>
            <a:endParaRPr lang="en-US" dirty="0"/>
          </a:p>
        </p:txBody>
      </p:sp>
      <p:pic>
        <p:nvPicPr>
          <p:cNvPr id="4" name="Picture 3" descr="Student in computer lab typing on laptop.">
            <a:extLst>
              <a:ext uri="{FF2B5EF4-FFF2-40B4-BE49-F238E27FC236}">
                <a16:creationId xmlns:a16="http://schemas.microsoft.com/office/drawing/2014/main" id="{AF3AFC82-7C61-DC66-C643-548367B3DB8F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750407" y="1776412"/>
            <a:ext cx="3305175" cy="330517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A45F9B9-E32E-C37A-7B68-4ED6AC21FF2D}"/>
              </a:ext>
            </a:extLst>
          </p:cNvPr>
          <p:cNvSpPr txBox="1"/>
          <p:nvPr/>
        </p:nvSpPr>
        <p:spPr>
          <a:xfrm>
            <a:off x="4517712" y="1857543"/>
            <a:ext cx="692388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/>
                <a:cs typeface="Arial"/>
              </a:rPr>
              <a:t>Login into your Canvas account and navigate to your course.  </a:t>
            </a:r>
            <a:endParaRPr lang="en-US" dirty="0"/>
          </a:p>
          <a:p>
            <a:r>
              <a:rPr lang="en-US" dirty="0"/>
              <a:t>                </a:t>
            </a:r>
          </a:p>
          <a:p>
            <a:r>
              <a:rPr lang="en-US" dirty="0">
                <a:latin typeface="Arial"/>
                <a:cs typeface="Arial"/>
              </a:rPr>
              <a:t>If you are not sure if you have a Canvas account, check with your instructor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7859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C81779-ED6B-C1F6-67BC-417EE87BE8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EF012F-23DA-E89E-87E8-98AB82EE8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2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44FC930-A7C5-0A96-EBF0-F5DAB7EDA0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Blackboard with Inclusive Access LTIA Deep Integration</a:t>
            </a:r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91D6B3-F334-BF8B-2D50-7214895F8693}"/>
              </a:ext>
            </a:extLst>
          </p:cNvPr>
          <p:cNvSpPr txBox="1"/>
          <p:nvPr/>
        </p:nvSpPr>
        <p:spPr>
          <a:xfrm>
            <a:off x="682672" y="1951907"/>
            <a:ext cx="69238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avigate to a Connect assignment link and click on it.    </a:t>
            </a:r>
          </a:p>
          <a:p>
            <a:endParaRPr lang="en-US" dirty="0"/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15B2C1B1-2FFC-F843-A291-251715D815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8137" y="2769596"/>
            <a:ext cx="7904670" cy="3588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06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66140C-3D9B-35D8-5A39-128A961194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3A130-29C2-E441-1428-7557D25C1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4AA4E02-6AE3-16DC-A0A0-04F56927A6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Blackboard with Inclusive Access LTIA Deep Integration</a:t>
            </a:r>
          </a:p>
          <a:p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1BAABA9-7BBE-47C0-31E6-39608C1D76B7}"/>
              </a:ext>
            </a:extLst>
          </p:cNvPr>
          <p:cNvSpPr txBox="1">
            <a:spLocks/>
          </p:cNvSpPr>
          <p:nvPr/>
        </p:nvSpPr>
        <p:spPr>
          <a:xfrm>
            <a:off x="682672" y="1736496"/>
            <a:ext cx="3201988" cy="437409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</a:t>
            </a:r>
            <a:r>
              <a:rPr lang="en-US" b="1" dirty="0"/>
              <a:t>Begin</a:t>
            </a:r>
            <a:r>
              <a:rPr lang="en-US" dirty="0"/>
              <a:t>. </a:t>
            </a:r>
          </a:p>
        </p:txBody>
      </p:sp>
      <p:pic>
        <p:nvPicPr>
          <p:cNvPr id="6" name="Picture 5" descr="Image shows Connect prompt where there is a blue rectangular box where you will click to begin registration. ">
            <a:extLst>
              <a:ext uri="{FF2B5EF4-FFF2-40B4-BE49-F238E27FC236}">
                <a16:creationId xmlns:a16="http://schemas.microsoft.com/office/drawing/2014/main" id="{66FAE266-F022-7D30-0497-12E7B6EC8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684" y="2663455"/>
            <a:ext cx="5580896" cy="252017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5912558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79E7C4-3776-7E45-0132-1F4CB8DED2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0D99D-2C1B-FDCE-788D-C0A7FF819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5DF7C4-1F6B-4888-0BC4-462CFB4954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Blackboard with Inclusive Access LTIA Deep Integration</a:t>
            </a:r>
          </a:p>
          <a:p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84FAEE-FF49-B11E-3E7A-7B4B3400ECD7}"/>
              </a:ext>
            </a:extLst>
          </p:cNvPr>
          <p:cNvSpPr txBox="1">
            <a:spLocks/>
          </p:cNvSpPr>
          <p:nvPr/>
        </p:nvSpPr>
        <p:spPr>
          <a:xfrm>
            <a:off x="682672" y="1780549"/>
            <a:ext cx="8553686" cy="43735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900"/>
              </a:spcAft>
            </a:pPr>
            <a:r>
              <a:rPr lang="en-US" b="1" dirty="0"/>
              <a:t>Sign In </a:t>
            </a:r>
            <a:r>
              <a:rPr lang="en-US" dirty="0"/>
              <a:t>with an existing Connect account or </a:t>
            </a:r>
            <a:r>
              <a:rPr lang="en-US" b="1" dirty="0"/>
              <a:t>Create Account</a:t>
            </a:r>
            <a:r>
              <a:rPr lang="en-US" dirty="0"/>
              <a:t>.</a:t>
            </a:r>
            <a:endParaRPr lang="en-US" sz="1600" dirty="0"/>
          </a:p>
        </p:txBody>
      </p:sp>
      <p:pic>
        <p:nvPicPr>
          <p:cNvPr id="8" name="Picture 7" descr="The prompt on the left of the screen will be where you create a new account. The prompt on the right will be where you enter an existing email address and password for Connect. ">
            <a:extLst>
              <a:ext uri="{FF2B5EF4-FFF2-40B4-BE49-F238E27FC236}">
                <a16:creationId xmlns:a16="http://schemas.microsoft.com/office/drawing/2014/main" id="{7AA9A1D3-1E21-7DF9-E8AD-B8DCB9DEC9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4590" y="3035328"/>
            <a:ext cx="6520417" cy="311878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638442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68A716-DACA-CF3D-863F-8EFA576259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17D12E-7A7F-F8A2-7B40-F499FFBB4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CC5B0A-0678-0993-D1DD-FB6C0370F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Blackboard with Inclusive Access LTIA Deep Integration</a:t>
            </a:r>
          </a:p>
          <a:p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3DF3A86-8B89-88C8-5653-488D37437088}"/>
              </a:ext>
            </a:extLst>
          </p:cNvPr>
          <p:cNvSpPr txBox="1">
            <a:spLocks/>
          </p:cNvSpPr>
          <p:nvPr/>
        </p:nvSpPr>
        <p:spPr>
          <a:xfrm>
            <a:off x="682672" y="1780549"/>
            <a:ext cx="8553686" cy="43735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</a:t>
            </a:r>
            <a:r>
              <a:rPr lang="en-US" b="1" dirty="0"/>
              <a:t>Confirm</a:t>
            </a:r>
            <a:r>
              <a:rPr lang="en-US" dirty="0"/>
              <a:t>.   You are now registered. </a:t>
            </a:r>
          </a:p>
        </p:txBody>
      </p:sp>
      <p:pic>
        <p:nvPicPr>
          <p:cNvPr id="4" name="Picture 3" descr="The course information will be displayed and if correct you will click on the red rectangular box to Confirm registration. ">
            <a:extLst>
              <a:ext uri="{FF2B5EF4-FFF2-40B4-BE49-F238E27FC236}">
                <a16:creationId xmlns:a16="http://schemas.microsoft.com/office/drawing/2014/main" id="{A14813D8-8516-B152-639B-185399878C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9337" y="2952107"/>
            <a:ext cx="6513325" cy="261271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3860658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C5483EE-6588-8FB8-5E2B-7BC513C15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004" y="1042819"/>
            <a:ext cx="7425786" cy="690503"/>
          </a:xfrm>
        </p:spPr>
        <p:txBody>
          <a:bodyPr>
            <a:normAutofit fontScale="90000"/>
          </a:bodyPr>
          <a:lstStyle/>
          <a:p>
            <a:r>
              <a:rPr lang="en-US" sz="2200">
                <a:latin typeface="Arial"/>
                <a:cs typeface="Arial"/>
              </a:rPr>
              <a:t>Slides Available for the First Day of Class: Sharpen Companion, IA, Canvas</a:t>
            </a:r>
            <a:endParaRPr lang="en-US" sz="2200" b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54EA526-D390-E19A-BD6B-0CD609A59E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McGraw Hill First Day of Class 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BDD4F1-225D-2004-AEB8-C78EE5CDD1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McGraw Hill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7892B8-AB1F-0462-871B-2BFA44332D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6966" y="1951406"/>
            <a:ext cx="8574933" cy="3746527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,Sans-Serif" panose="020B0604020202020204" pitchFamily="34" charset="0"/>
              <a:buChar char="q"/>
            </a:pPr>
            <a:r>
              <a:rPr lang="en-US" sz="1400" b="1">
                <a:latin typeface="Arial"/>
                <a:cs typeface="Arial"/>
              </a:rPr>
              <a:t>McGraw Hill Connect and Sharpen</a:t>
            </a:r>
            <a:r>
              <a:rPr lang="en-US" sz="1400">
                <a:latin typeface="Arial"/>
                <a:cs typeface="Arial"/>
              </a:rPr>
              <a:t>:</a:t>
            </a:r>
            <a:endParaRPr lang="en-US" sz="1400" strike="sngStrike">
              <a:highlight>
                <a:srgbClr val="FFFF00"/>
              </a:highlight>
              <a:latin typeface="Arial"/>
              <a:cs typeface="Arial"/>
            </a:endParaRP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>
                <a:latin typeface="Arial"/>
                <a:cs typeface="Arial"/>
              </a:rPr>
              <a:t>Connect and Sharpen Companion FDOC Slides 2 – 9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>
                <a:latin typeface="Arial"/>
                <a:cs typeface="Arial"/>
              </a:rPr>
              <a:t>Connect Purchase Flows</a:t>
            </a:r>
            <a:endParaRPr lang="en-US" sz="1400"/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>
                <a:latin typeface="Arial"/>
                <a:cs typeface="Arial"/>
              </a:rPr>
              <a:t>IA: Connect with an LMS: Canvas Slides 10 – 14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>
                <a:latin typeface="Arial"/>
                <a:cs typeface="Arial"/>
              </a:rPr>
              <a:t>Connect Log-In Flows</a:t>
            </a:r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>
                <a:latin typeface="Arial"/>
                <a:cs typeface="Arial"/>
              </a:rPr>
              <a:t>Non-IA and IA: Connect with an LMS Slides 15 – 18</a:t>
            </a:r>
          </a:p>
        </p:txBody>
      </p:sp>
    </p:spTree>
    <p:extLst>
      <p:ext uri="{BB962C8B-B14F-4D97-AF65-F5344CB8AC3E}">
        <p14:creationId xmlns:p14="http://schemas.microsoft.com/office/powerpoint/2010/main" val="29798977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352815ED-5449-C549-90F0-EF17730CF768}"/>
    </a:ext>
  </a:extLst>
</a:theme>
</file>

<file path=ppt/theme/theme10.xml><?xml version="1.0" encoding="utf-8"?>
<a:theme xmlns:a="http://schemas.openxmlformats.org/drawingml/2006/main" name="Closing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5D7D9312-D834-4646-A40F-5CFBDD29F038}"/>
    </a:ext>
  </a:extLst>
</a:theme>
</file>

<file path=ppt/theme/theme11.xml><?xml version="1.0" encoding="utf-8"?>
<a:theme xmlns:a="http://schemas.openxmlformats.org/drawingml/2006/main" name="Master Slide Gray Header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cGraw Hill PPT template as of 12.7.21" id="{AFE06423-DED1-418F-A980-C7FCDD9FF36E}" vid="{37397CAB-5060-489A-BB65-9DFAEE360247}"/>
    </a:ext>
  </a:extLst>
</a:theme>
</file>

<file path=ppt/theme/theme12.xml><?xml version="1.0" encoding="utf-8"?>
<a:theme xmlns:a="http://schemas.openxmlformats.org/drawingml/2006/main" name="7_Office Theme">
  <a:themeElements>
    <a:clrScheme name="Redi">
      <a:dk1>
        <a:srgbClr val="313936"/>
      </a:dk1>
      <a:lt1>
        <a:srgbClr val="F2F6F3"/>
      </a:lt1>
      <a:dk2>
        <a:srgbClr val="313936"/>
      </a:dk2>
      <a:lt2>
        <a:srgbClr val="F3F6F4"/>
      </a:lt2>
      <a:accent1>
        <a:srgbClr val="FED67A"/>
      </a:accent1>
      <a:accent2>
        <a:srgbClr val="F4A352"/>
      </a:accent2>
      <a:accent3>
        <a:srgbClr val="F16E55"/>
      </a:accent3>
      <a:accent4>
        <a:srgbClr val="BE497F"/>
      </a:accent4>
      <a:accent5>
        <a:srgbClr val="AA285E"/>
      </a:accent5>
      <a:accent6>
        <a:srgbClr val="4D2F71"/>
      </a:accent6>
      <a:hlink>
        <a:srgbClr val="57C1DD"/>
      </a:hlink>
      <a:folHlink>
        <a:srgbClr val="1E93C6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able of Contents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B39F900F-F438-ED4C-9BB9-27EDD81E7952}"/>
    </a:ext>
  </a:extLst>
</a:theme>
</file>

<file path=ppt/theme/theme3.xml><?xml version="1.0" encoding="utf-8"?>
<a:theme xmlns:a="http://schemas.openxmlformats.org/drawingml/2006/main" name="Chapter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DED5EA3D-16A4-7C45-BF12-D3DCD01D7420}"/>
    </a:ext>
  </a:extLst>
</a:theme>
</file>

<file path=ppt/theme/theme4.xml><?xml version="1.0" encoding="utf-8"?>
<a:theme xmlns:a="http://schemas.openxmlformats.org/drawingml/2006/main" name="Split Conten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C3BA3656-BF0F-DA41-B94C-4D0F4B5A7075}"/>
    </a:ext>
  </a:extLst>
</a:theme>
</file>

<file path=ppt/theme/theme5.xml><?xml version="1.0" encoding="utf-8"?>
<a:theme xmlns:a="http://schemas.openxmlformats.org/drawingml/2006/main" name="Lis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845AF564-5821-B446-B673-46A17AAE1048}"/>
    </a:ext>
  </a:extLst>
</a:theme>
</file>

<file path=ppt/theme/theme6.xml><?xml version="1.0" encoding="utf-8"?>
<a:theme xmlns:a="http://schemas.openxmlformats.org/drawingml/2006/main" name="Call-Out Box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15D6BFAF-FDB0-6C4F-BE05-70B8932CB53C}"/>
    </a:ext>
  </a:extLst>
</a:theme>
</file>

<file path=ppt/theme/theme7.xml><?xml version="1.0" encoding="utf-8"?>
<a:theme xmlns:a="http://schemas.openxmlformats.org/drawingml/2006/main" name="Column and Statistic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68866F8D-219E-1D48-8232-F35BAF3AB18E}"/>
    </a:ext>
  </a:extLst>
</a:theme>
</file>

<file path=ppt/theme/theme8.xml><?xml version="1.0" encoding="utf-8"?>
<a:theme xmlns:a="http://schemas.openxmlformats.org/drawingml/2006/main" name="Quot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99952907-742D-2147-98E7-3817E1F17243}"/>
    </a:ext>
  </a:extLst>
</a:theme>
</file>

<file path=ppt/theme/theme9.xml><?xml version="1.0" encoding="utf-8"?>
<a:theme xmlns:a="http://schemas.openxmlformats.org/drawingml/2006/main" name="Bio Slid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E689B527-ECED-9640-BAF2-E295E40E1BB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3E5BD4A2DB99489DADB245B77948E1" ma:contentTypeVersion="14" ma:contentTypeDescription="Create a new document." ma:contentTypeScope="" ma:versionID="8fe2cf224561322f6307ff69f0cbd4e8">
  <xsd:schema xmlns:xsd="http://www.w3.org/2001/XMLSchema" xmlns:xs="http://www.w3.org/2001/XMLSchema" xmlns:p="http://schemas.microsoft.com/office/2006/metadata/properties" xmlns:ns2="55eee036-b312-4691-be2e-efe9fdaf1737" xmlns:ns3="4f83251b-4d3b-4580-8981-be5e2b08b791" targetNamespace="http://schemas.microsoft.com/office/2006/metadata/properties" ma:root="true" ma:fieldsID="efd146875e61d015b75b2115db56588f" ns2:_="" ns3:_="">
    <xsd:import namespace="55eee036-b312-4691-be2e-efe9fdaf1737"/>
    <xsd:import namespace="4f83251b-4d3b-4580-8981-be5e2b08b7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eee036-b312-4691-be2e-efe9fdaf1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b8617a1-beef-4e24-867f-51551f54cf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83251b-4d3b-4580-8981-be5e2b08b79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39b3064-63db-4cd0-875f-805d9032981a}" ma:internalName="TaxCatchAll" ma:showField="CatchAllData" ma:web="4f83251b-4d3b-4580-8981-be5e2b08b7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5eee036-b312-4691-be2e-efe9fdaf1737">
      <Terms xmlns="http://schemas.microsoft.com/office/infopath/2007/PartnerControls"/>
    </lcf76f155ced4ddcb4097134ff3c332f>
    <TaxCatchAll xmlns="4f83251b-4d3b-4580-8981-be5e2b08b79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418DFB7-3B14-4253-B1F8-20588DB05E30}">
  <ds:schemaRefs>
    <ds:schemaRef ds:uri="4f83251b-4d3b-4580-8981-be5e2b08b791"/>
    <ds:schemaRef ds:uri="55eee036-b312-4691-be2e-efe9fdaf173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14F98F79-CDE5-4D73-B2C6-1BC6C1BC02F1}">
  <ds:schemaRefs>
    <ds:schemaRef ds:uri="4f83251b-4d3b-4580-8981-be5e2b08b791"/>
    <ds:schemaRef ds:uri="55eee036-b312-4691-be2e-efe9fdaf173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92827D6-6DC0-4774-96A1-CBE03911362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3.03.13 McGraw Hill PowerPoint Template</Template>
  <TotalTime>0</TotalTime>
  <Words>1503</Words>
  <Application>Microsoft Macintosh PowerPoint</Application>
  <PresentationFormat>Widescreen</PresentationFormat>
  <Paragraphs>197</Paragraphs>
  <Slides>26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47" baseType="lpstr">
      <vt:lpstr>Arial</vt:lpstr>
      <vt:lpstr>Arial Black</vt:lpstr>
      <vt:lpstr>Arial,Sans-Serif</vt:lpstr>
      <vt:lpstr>Calibri</vt:lpstr>
      <vt:lpstr>Magazine Grotesque</vt:lpstr>
      <vt:lpstr>Magazine Grotesque Bold</vt:lpstr>
      <vt:lpstr>Wingdings</vt:lpstr>
      <vt:lpstr>Wingdings,Sans-Serif</vt:lpstr>
      <vt:lpstr>Cover Slides</vt:lpstr>
      <vt:lpstr>Table of Contents Slides</vt:lpstr>
      <vt:lpstr>Chapter Slides</vt:lpstr>
      <vt:lpstr>Split Content Slides</vt:lpstr>
      <vt:lpstr>List Slides</vt:lpstr>
      <vt:lpstr>Call-Out Box Slides</vt:lpstr>
      <vt:lpstr>Column and Statistic Slides</vt:lpstr>
      <vt:lpstr>Quotes</vt:lpstr>
      <vt:lpstr>Bio Slides</vt:lpstr>
      <vt:lpstr>Closing Slides</vt:lpstr>
      <vt:lpstr>Master Slide Gray Header</vt:lpstr>
      <vt:lpstr>7_Office Theme</vt:lpstr>
      <vt:lpstr>think-cell Slide</vt:lpstr>
      <vt:lpstr>McGraw Hill Connect ®</vt:lpstr>
      <vt:lpstr>Connect is your personalized digital learning experience designed to help you optimize study time and ramp up your grade potential.</vt:lpstr>
      <vt:lpstr>Make the Most of Connect!</vt:lpstr>
      <vt:lpstr>Step 1</vt:lpstr>
      <vt:lpstr>Step 2</vt:lpstr>
      <vt:lpstr>Step 3</vt:lpstr>
      <vt:lpstr>Step 4</vt:lpstr>
      <vt:lpstr>Step 5</vt:lpstr>
      <vt:lpstr>Slides Available for the First Day of Class: Sharpen Companion, IA, Canvas</vt:lpstr>
      <vt:lpstr>Getting Started with McGraw Hill Connect ® and Sharpen</vt:lpstr>
      <vt:lpstr>Students: What is Sharpen?</vt:lpstr>
      <vt:lpstr>Sharpen is the ultimate college study app for exam prep</vt:lpstr>
      <vt:lpstr>Download the Sharpen College Study App – Scan This Code​</vt:lpstr>
      <vt:lpstr>Students, here are tips to make the most of Connect: </vt:lpstr>
      <vt:lpstr>Students, here are some tips to ace your exams with Sharpen:</vt:lpstr>
      <vt:lpstr>Students: Study on your Smartphone or Tablet!</vt:lpstr>
      <vt:lpstr>Connect Student Support</vt:lpstr>
      <vt:lpstr>Sharpen Companion Purchase Flow IA Registration: Connect Integrated with a Learning Management System (LMS)  </vt:lpstr>
      <vt:lpstr>Accessing McGraw Hill Connect:  Canvas</vt:lpstr>
      <vt:lpstr>Step 2: </vt:lpstr>
      <vt:lpstr>Step 3: </vt:lpstr>
      <vt:lpstr>Step 4: </vt:lpstr>
      <vt:lpstr>Sharpen Companion Log-In Flow Non-IA and IA: Connect Integrated with a Learning Management System (LMS) </vt:lpstr>
      <vt:lpstr>Sharpen Companion Log-In Flow Part 1</vt:lpstr>
      <vt:lpstr>Sharpen Companion Log-In Flow Part 2</vt:lpstr>
      <vt:lpstr>Thank you!</vt:lpstr>
    </vt:vector>
  </TitlesOfParts>
  <Company>McGraw-Hi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ALEKS®</dc:title>
  <dc:creator>Hicks, Selena</dc:creator>
  <cp:lastModifiedBy>Griffin, Raven</cp:lastModifiedBy>
  <cp:revision>3</cp:revision>
  <dcterms:created xsi:type="dcterms:W3CDTF">2023-07-10T01:20:11Z</dcterms:created>
  <dcterms:modified xsi:type="dcterms:W3CDTF">2025-05-28T20:35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3E5BD4A2DB99489DADB245B77948E1</vt:lpwstr>
  </property>
  <property fmtid="{D5CDD505-2E9C-101B-9397-08002B2CF9AE}" pid="3" name="MediaServiceImageTags">
    <vt:lpwstr/>
  </property>
  <property fmtid="{D5CDD505-2E9C-101B-9397-08002B2CF9AE}" pid="4" name="Order">
    <vt:r8>22203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</Properties>
</file>